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  <p:sldMasterId id="2147483705" r:id="rId4"/>
  </p:sldMasterIdLst>
  <p:notesMasterIdLst>
    <p:notesMasterId r:id="rId21"/>
  </p:notesMasterIdLst>
  <p:sldIdLst>
    <p:sldId id="1402" r:id="rId5"/>
    <p:sldId id="1403" r:id="rId6"/>
    <p:sldId id="1404" r:id="rId7"/>
    <p:sldId id="1405" r:id="rId8"/>
    <p:sldId id="1406" r:id="rId9"/>
    <p:sldId id="1407" r:id="rId10"/>
    <p:sldId id="1408" r:id="rId11"/>
    <p:sldId id="1409" r:id="rId12"/>
    <p:sldId id="1410" r:id="rId13"/>
    <p:sldId id="1411" r:id="rId14"/>
    <p:sldId id="1412" r:id="rId15"/>
    <p:sldId id="1413" r:id="rId16"/>
    <p:sldId id="1414" r:id="rId17"/>
    <p:sldId id="1415" r:id="rId18"/>
    <p:sldId id="1416" r:id="rId19"/>
    <p:sldId id="1417" r:id="rId20"/>
  </p:sldIdLst>
  <p:sldSz cx="12192000" cy="6858000"/>
  <p:notesSz cx="6858000" cy="9144000"/>
  <p:custDataLst>
    <p:tags r:id="rId2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05983"/>
    <a:srgbClr val="E0D764"/>
    <a:srgbClr val="FF5050"/>
    <a:srgbClr val="00FF00"/>
    <a:srgbClr val="00CD61"/>
    <a:srgbClr val="FA9106"/>
    <a:srgbClr val="E6E6E6"/>
    <a:srgbClr val="BFBFBF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501" autoAdjust="0"/>
  </p:normalViewPr>
  <p:slideViewPr>
    <p:cSldViewPr snapToGrid="0">
      <p:cViewPr varScale="1">
        <p:scale>
          <a:sx n="105" d="100"/>
          <a:sy n="105" d="100"/>
        </p:scale>
        <p:origin x="138" y="162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961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16</c:v>
                </c:pt>
                <c:pt idx="1">
                  <c:v>44217</c:v>
                </c:pt>
                <c:pt idx="2">
                  <c:v>44218</c:v>
                </c:pt>
                <c:pt idx="3">
                  <c:v>44219</c:v>
                </c:pt>
                <c:pt idx="4">
                  <c:v>44220</c:v>
                </c:pt>
                <c:pt idx="5">
                  <c:v>44221</c:v>
                </c:pt>
                <c:pt idx="6">
                  <c:v>44222</c:v>
                </c:pt>
                <c:pt idx="7">
                  <c:v>44223</c:v>
                </c:pt>
                <c:pt idx="8">
                  <c:v>44224</c:v>
                </c:pt>
                <c:pt idx="9">
                  <c:v>44225</c:v>
                </c:pt>
                <c:pt idx="10">
                  <c:v>44226</c:v>
                </c:pt>
                <c:pt idx="11">
                  <c:v>44227</c:v>
                </c:pt>
                <c:pt idx="12">
                  <c:v>44228</c:v>
                </c:pt>
                <c:pt idx="13">
                  <c:v>44229</c:v>
                </c:pt>
                <c:pt idx="14">
                  <c:v>44230</c:v>
                </c:pt>
                <c:pt idx="15">
                  <c:v>44231</c:v>
                </c:pt>
                <c:pt idx="16">
                  <c:v>44232</c:v>
                </c:pt>
                <c:pt idx="17">
                  <c:v>44233</c:v>
                </c:pt>
                <c:pt idx="18">
                  <c:v>44234</c:v>
                </c:pt>
                <c:pt idx="19">
                  <c:v>44235</c:v>
                </c:pt>
                <c:pt idx="20">
                  <c:v>44236</c:v>
                </c:pt>
                <c:pt idx="21">
                  <c:v>44237</c:v>
                </c:pt>
                <c:pt idx="22">
                  <c:v>44238</c:v>
                </c:pt>
                <c:pt idx="23">
                  <c:v>44239</c:v>
                </c:pt>
                <c:pt idx="24">
                  <c:v>44240</c:v>
                </c:pt>
                <c:pt idx="25">
                  <c:v>44241</c:v>
                </c:pt>
                <c:pt idx="26">
                  <c:v>44242</c:v>
                </c:pt>
                <c:pt idx="27">
                  <c:v>44243</c:v>
                </c:pt>
                <c:pt idx="28">
                  <c:v>44244</c:v>
                </c:pt>
                <c:pt idx="29">
                  <c:v>44245</c:v>
                </c:pt>
                <c:pt idx="30">
                  <c:v>44246</c:v>
                </c:pt>
                <c:pt idx="31">
                  <c:v>44247</c:v>
                </c:pt>
                <c:pt idx="32">
                  <c:v>44248</c:v>
                </c:pt>
                <c:pt idx="33">
                  <c:v>44249</c:v>
                </c:pt>
                <c:pt idx="34">
                  <c:v>44250</c:v>
                </c:pt>
                <c:pt idx="35">
                  <c:v>44251</c:v>
                </c:pt>
                <c:pt idx="36">
                  <c:v>44252</c:v>
                </c:pt>
                <c:pt idx="37">
                  <c:v>44253</c:v>
                </c:pt>
                <c:pt idx="38">
                  <c:v>44254</c:v>
                </c:pt>
                <c:pt idx="39">
                  <c:v>44255</c:v>
                </c:pt>
                <c:pt idx="40">
                  <c:v>44256</c:v>
                </c:pt>
                <c:pt idx="41">
                  <c:v>44257</c:v>
                </c:pt>
                <c:pt idx="42">
                  <c:v>44258</c:v>
                </c:pt>
                <c:pt idx="43">
                  <c:v>44259</c:v>
                </c:pt>
                <c:pt idx="44">
                  <c:v>44260</c:v>
                </c:pt>
                <c:pt idx="45">
                  <c:v>44261</c:v>
                </c:pt>
                <c:pt idx="46">
                  <c:v>44262</c:v>
                </c:pt>
                <c:pt idx="47">
                  <c:v>44263</c:v>
                </c:pt>
                <c:pt idx="48">
                  <c:v>44264</c:v>
                </c:pt>
                <c:pt idx="49">
                  <c:v>44265</c:v>
                </c:pt>
                <c:pt idx="50">
                  <c:v>44266</c:v>
                </c:pt>
                <c:pt idx="51">
                  <c:v>44267</c:v>
                </c:pt>
                <c:pt idx="52">
                  <c:v>44268</c:v>
                </c:pt>
                <c:pt idx="53">
                  <c:v>44269</c:v>
                </c:pt>
                <c:pt idx="54">
                  <c:v>44270</c:v>
                </c:pt>
                <c:pt idx="55">
                  <c:v>44271</c:v>
                </c:pt>
                <c:pt idx="56">
                  <c:v>44272</c:v>
                </c:pt>
                <c:pt idx="57">
                  <c:v>44273</c:v>
                </c:pt>
                <c:pt idx="58">
                  <c:v>44274</c:v>
                </c:pt>
                <c:pt idx="59">
                  <c:v>44275</c:v>
                </c:pt>
                <c:pt idx="60">
                  <c:v>44276</c:v>
                </c:pt>
                <c:pt idx="61">
                  <c:v>44277</c:v>
                </c:pt>
                <c:pt idx="62">
                  <c:v>44278</c:v>
                </c:pt>
                <c:pt idx="63">
                  <c:v>44279</c:v>
                </c:pt>
                <c:pt idx="64">
                  <c:v>44280</c:v>
                </c:pt>
                <c:pt idx="65">
                  <c:v>44281</c:v>
                </c:pt>
                <c:pt idx="66">
                  <c:v>44282</c:v>
                </c:pt>
                <c:pt idx="67">
                  <c:v>44283</c:v>
                </c:pt>
                <c:pt idx="68">
                  <c:v>44284</c:v>
                </c:pt>
                <c:pt idx="69">
                  <c:v>44285</c:v>
                </c:pt>
                <c:pt idx="70">
                  <c:v>44286</c:v>
                </c:pt>
                <c:pt idx="71">
                  <c:v>44287</c:v>
                </c:pt>
                <c:pt idx="72">
                  <c:v>44288</c:v>
                </c:pt>
                <c:pt idx="73">
                  <c:v>44289</c:v>
                </c:pt>
                <c:pt idx="74">
                  <c:v>44290</c:v>
                </c:pt>
                <c:pt idx="75">
                  <c:v>44291</c:v>
                </c:pt>
                <c:pt idx="76">
                  <c:v>44292</c:v>
                </c:pt>
                <c:pt idx="77">
                  <c:v>44293</c:v>
                </c:pt>
                <c:pt idx="78">
                  <c:v>44294</c:v>
                </c:pt>
                <c:pt idx="79">
                  <c:v>44295</c:v>
                </c:pt>
                <c:pt idx="80">
                  <c:v>44296</c:v>
                </c:pt>
                <c:pt idx="81">
                  <c:v>44297</c:v>
                </c:pt>
                <c:pt idx="82">
                  <c:v>44298</c:v>
                </c:pt>
                <c:pt idx="83">
                  <c:v>44299</c:v>
                </c:pt>
                <c:pt idx="84">
                  <c:v>44300</c:v>
                </c:pt>
                <c:pt idx="85">
                  <c:v>44301</c:v>
                </c:pt>
                <c:pt idx="86">
                  <c:v>44302</c:v>
                </c:pt>
                <c:pt idx="87">
                  <c:v>44303</c:v>
                </c:pt>
                <c:pt idx="88">
                  <c:v>44304</c:v>
                </c:pt>
                <c:pt idx="89">
                  <c:v>44305</c:v>
                </c:pt>
                <c:pt idx="90">
                  <c:v>44306</c:v>
                </c:pt>
                <c:pt idx="91">
                  <c:v>44307</c:v>
                </c:pt>
                <c:pt idx="92">
                  <c:v>44308</c:v>
                </c:pt>
                <c:pt idx="93">
                  <c:v>44309</c:v>
                </c:pt>
                <c:pt idx="94">
                  <c:v>44310</c:v>
                </c:pt>
                <c:pt idx="95">
                  <c:v>44311</c:v>
                </c:pt>
                <c:pt idx="96">
                  <c:v>44312</c:v>
                </c:pt>
                <c:pt idx="97">
                  <c:v>44313</c:v>
                </c:pt>
                <c:pt idx="98">
                  <c:v>44314</c:v>
                </c:pt>
                <c:pt idx="99">
                  <c:v>44315</c:v>
                </c:pt>
                <c:pt idx="100">
                  <c:v>44316</c:v>
                </c:pt>
                <c:pt idx="101">
                  <c:v>44317</c:v>
                </c:pt>
                <c:pt idx="102">
                  <c:v>44318</c:v>
                </c:pt>
                <c:pt idx="103">
                  <c:v>44319</c:v>
                </c:pt>
                <c:pt idx="104">
                  <c:v>44320</c:v>
                </c:pt>
                <c:pt idx="105">
                  <c:v>44321</c:v>
                </c:pt>
                <c:pt idx="106">
                  <c:v>44322</c:v>
                </c:pt>
                <c:pt idx="107">
                  <c:v>44323</c:v>
                </c:pt>
                <c:pt idx="108">
                  <c:v>44324</c:v>
                </c:pt>
                <c:pt idx="109">
                  <c:v>44325</c:v>
                </c:pt>
                <c:pt idx="110">
                  <c:v>44326</c:v>
                </c:pt>
                <c:pt idx="111">
                  <c:v>44327</c:v>
                </c:pt>
                <c:pt idx="112">
                  <c:v>44328</c:v>
                </c:pt>
                <c:pt idx="113">
                  <c:v>44329</c:v>
                </c:pt>
                <c:pt idx="114">
                  <c:v>44330</c:v>
                </c:pt>
                <c:pt idx="115">
                  <c:v>44331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8216</c:v>
                </c:pt>
                <c:pt idx="1">
                  <c:v>7534</c:v>
                </c:pt>
                <c:pt idx="2">
                  <c:v>8468</c:v>
                </c:pt>
                <c:pt idx="3">
                  <c:v>4239</c:v>
                </c:pt>
                <c:pt idx="4">
                  <c:v>2394</c:v>
                </c:pt>
                <c:pt idx="5">
                  <c:v>6974</c:v>
                </c:pt>
                <c:pt idx="6">
                  <c:v>9196</c:v>
                </c:pt>
                <c:pt idx="7">
                  <c:v>8504</c:v>
                </c:pt>
                <c:pt idx="8">
                  <c:v>8010</c:v>
                </c:pt>
                <c:pt idx="9">
                  <c:v>8053</c:v>
                </c:pt>
                <c:pt idx="10">
                  <c:v>4055</c:v>
                </c:pt>
                <c:pt idx="11">
                  <c:v>2573</c:v>
                </c:pt>
                <c:pt idx="12">
                  <c:v>7217</c:v>
                </c:pt>
                <c:pt idx="13">
                  <c:v>9149</c:v>
                </c:pt>
                <c:pt idx="14">
                  <c:v>9667</c:v>
                </c:pt>
                <c:pt idx="15">
                  <c:v>8108</c:v>
                </c:pt>
                <c:pt idx="16">
                  <c:v>8623</c:v>
                </c:pt>
                <c:pt idx="17">
                  <c:v>4820</c:v>
                </c:pt>
                <c:pt idx="18">
                  <c:v>2451</c:v>
                </c:pt>
                <c:pt idx="19">
                  <c:v>7777</c:v>
                </c:pt>
                <c:pt idx="20">
                  <c:v>10283</c:v>
                </c:pt>
                <c:pt idx="21">
                  <c:v>9538</c:v>
                </c:pt>
                <c:pt idx="22">
                  <c:v>9018</c:v>
                </c:pt>
                <c:pt idx="23">
                  <c:v>8830</c:v>
                </c:pt>
                <c:pt idx="24">
                  <c:v>5141</c:v>
                </c:pt>
                <c:pt idx="25">
                  <c:v>2880</c:v>
                </c:pt>
                <c:pt idx="26">
                  <c:v>8905</c:v>
                </c:pt>
                <c:pt idx="27">
                  <c:v>12608</c:v>
                </c:pt>
                <c:pt idx="28">
                  <c:v>10939</c:v>
                </c:pt>
                <c:pt idx="29">
                  <c:v>11704</c:v>
                </c:pt>
                <c:pt idx="30">
                  <c:v>11288</c:v>
                </c:pt>
                <c:pt idx="31">
                  <c:v>6775</c:v>
                </c:pt>
                <c:pt idx="32">
                  <c:v>4068</c:v>
                </c:pt>
                <c:pt idx="33">
                  <c:v>11410</c:v>
                </c:pt>
                <c:pt idx="34">
                  <c:v>15840</c:v>
                </c:pt>
                <c:pt idx="35">
                  <c:v>13796</c:v>
                </c:pt>
                <c:pt idx="36">
                  <c:v>14588</c:v>
                </c:pt>
                <c:pt idx="37">
                  <c:v>14775</c:v>
                </c:pt>
                <c:pt idx="38">
                  <c:v>7824</c:v>
                </c:pt>
                <c:pt idx="39">
                  <c:v>4587</c:v>
                </c:pt>
                <c:pt idx="40">
                  <c:v>12325</c:v>
                </c:pt>
                <c:pt idx="41">
                  <c:v>16779</c:v>
                </c:pt>
                <c:pt idx="42">
                  <c:v>15238</c:v>
                </c:pt>
                <c:pt idx="43">
                  <c:v>14649</c:v>
                </c:pt>
                <c:pt idx="44">
                  <c:v>13169</c:v>
                </c:pt>
                <c:pt idx="45">
                  <c:v>9130</c:v>
                </c:pt>
                <c:pt idx="46">
                  <c:v>3983</c:v>
                </c:pt>
                <c:pt idx="47">
                  <c:v>10653</c:v>
                </c:pt>
                <c:pt idx="48">
                  <c:v>15359</c:v>
                </c:pt>
                <c:pt idx="49">
                  <c:v>14536</c:v>
                </c:pt>
                <c:pt idx="50">
                  <c:v>11245</c:v>
                </c:pt>
                <c:pt idx="51">
                  <c:v>14961</c:v>
                </c:pt>
                <c:pt idx="52">
                  <c:v>6956</c:v>
                </c:pt>
                <c:pt idx="53">
                  <c:v>3332</c:v>
                </c:pt>
                <c:pt idx="54">
                  <c:v>10630</c:v>
                </c:pt>
                <c:pt idx="55">
                  <c:v>14028</c:v>
                </c:pt>
                <c:pt idx="56">
                  <c:v>12028</c:v>
                </c:pt>
                <c:pt idx="57">
                  <c:v>10660</c:v>
                </c:pt>
                <c:pt idx="58">
                  <c:v>9710</c:v>
                </c:pt>
                <c:pt idx="59">
                  <c:v>5466</c:v>
                </c:pt>
                <c:pt idx="60">
                  <c:v>2391</c:v>
                </c:pt>
                <c:pt idx="61">
                  <c:v>8240</c:v>
                </c:pt>
                <c:pt idx="62">
                  <c:v>10968</c:v>
                </c:pt>
                <c:pt idx="63">
                  <c:v>8848</c:v>
                </c:pt>
                <c:pt idx="64">
                  <c:v>7926</c:v>
                </c:pt>
                <c:pt idx="65">
                  <c:v>7712</c:v>
                </c:pt>
                <c:pt idx="66">
                  <c:v>3969</c:v>
                </c:pt>
                <c:pt idx="67">
                  <c:v>1744</c:v>
                </c:pt>
                <c:pt idx="68">
                  <c:v>6935</c:v>
                </c:pt>
                <c:pt idx="69">
                  <c:v>8630</c:v>
                </c:pt>
                <c:pt idx="70">
                  <c:v>7262</c:v>
                </c:pt>
                <c:pt idx="71">
                  <c:v>6245</c:v>
                </c:pt>
                <c:pt idx="72">
                  <c:v>3837</c:v>
                </c:pt>
                <c:pt idx="73">
                  <c:v>2160</c:v>
                </c:pt>
                <c:pt idx="74">
                  <c:v>1925</c:v>
                </c:pt>
                <c:pt idx="75">
                  <c:v>1419</c:v>
                </c:pt>
                <c:pt idx="76">
                  <c:v>5582</c:v>
                </c:pt>
                <c:pt idx="77">
                  <c:v>7052</c:v>
                </c:pt>
                <c:pt idx="78">
                  <c:v>5282</c:v>
                </c:pt>
                <c:pt idx="79">
                  <c:v>4818</c:v>
                </c:pt>
                <c:pt idx="80">
                  <c:v>2204</c:v>
                </c:pt>
                <c:pt idx="81">
                  <c:v>985</c:v>
                </c:pt>
                <c:pt idx="82">
                  <c:v>3868</c:v>
                </c:pt>
                <c:pt idx="83">
                  <c:v>5056</c:v>
                </c:pt>
                <c:pt idx="84">
                  <c:v>3715</c:v>
                </c:pt>
                <c:pt idx="85">
                  <c:v>3263</c:v>
                </c:pt>
                <c:pt idx="86">
                  <c:v>3215</c:v>
                </c:pt>
                <c:pt idx="87">
                  <c:v>1541</c:v>
                </c:pt>
                <c:pt idx="88">
                  <c:v>833</c:v>
                </c:pt>
                <c:pt idx="89">
                  <c:v>3341</c:v>
                </c:pt>
                <c:pt idx="90">
                  <c:v>3815</c:v>
                </c:pt>
                <c:pt idx="91">
                  <c:v>2951</c:v>
                </c:pt>
                <c:pt idx="92">
                  <c:v>2628</c:v>
                </c:pt>
                <c:pt idx="93">
                  <c:v>2601</c:v>
                </c:pt>
                <c:pt idx="94">
                  <c:v>1307</c:v>
                </c:pt>
                <c:pt idx="95">
                  <c:v>825</c:v>
                </c:pt>
                <c:pt idx="96">
                  <c:v>2579</c:v>
                </c:pt>
                <c:pt idx="97">
                  <c:v>3238</c:v>
                </c:pt>
                <c:pt idx="98">
                  <c:v>2487</c:v>
                </c:pt>
                <c:pt idx="99">
                  <c:v>2228</c:v>
                </c:pt>
                <c:pt idx="100">
                  <c:v>2167</c:v>
                </c:pt>
                <c:pt idx="101">
                  <c:v>1171</c:v>
                </c:pt>
                <c:pt idx="102">
                  <c:v>508</c:v>
                </c:pt>
                <c:pt idx="103">
                  <c:v>2217</c:v>
                </c:pt>
                <c:pt idx="104">
                  <c:v>2416</c:v>
                </c:pt>
                <c:pt idx="105">
                  <c:v>1872</c:v>
                </c:pt>
                <c:pt idx="106">
                  <c:v>1572</c:v>
                </c:pt>
                <c:pt idx="107">
                  <c:v>1638</c:v>
                </c:pt>
                <c:pt idx="108">
                  <c:v>724</c:v>
                </c:pt>
                <c:pt idx="109">
                  <c:v>384</c:v>
                </c:pt>
                <c:pt idx="110">
                  <c:v>1545</c:v>
                </c:pt>
                <c:pt idx="111">
                  <c:v>1691</c:v>
                </c:pt>
                <c:pt idx="112">
                  <c:v>1266</c:v>
                </c:pt>
                <c:pt idx="113">
                  <c:v>1224</c:v>
                </c:pt>
                <c:pt idx="114">
                  <c:v>1054</c:v>
                </c:pt>
                <c:pt idx="115">
                  <c:v>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2</c:v>
                </c:pt>
                <c:pt idx="22">
                  <c:v>2109</c:v>
                </c:pt>
                <c:pt idx="23">
                  <c:v>1924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7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20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2</c:v>
                </c:pt>
                <c:pt idx="70">
                  <c:v>578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9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1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  <c:pt idx="90">
                  <c:v>86</c:v>
                </c:pt>
                <c:pt idx="91">
                  <c:v>299</c:v>
                </c:pt>
                <c:pt idx="92">
                  <c:v>310</c:v>
                </c:pt>
                <c:pt idx="93">
                  <c:v>251</c:v>
                </c:pt>
                <c:pt idx="94">
                  <c:v>223</c:v>
                </c:pt>
                <c:pt idx="95">
                  <c:v>179</c:v>
                </c:pt>
                <c:pt idx="96">
                  <c:v>92</c:v>
                </c:pt>
                <c:pt idx="97">
                  <c:v>57</c:v>
                </c:pt>
                <c:pt idx="98">
                  <c:v>214</c:v>
                </c:pt>
                <c:pt idx="99">
                  <c:v>184</c:v>
                </c:pt>
                <c:pt idx="100">
                  <c:v>134</c:v>
                </c:pt>
                <c:pt idx="101">
                  <c:v>155</c:v>
                </c:pt>
                <c:pt idx="102">
                  <c:v>133</c:v>
                </c:pt>
                <c:pt idx="103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522</c:v>
                </c:pt>
                <c:pt idx="1">
                  <c:v>627</c:v>
                </c:pt>
                <c:pt idx="2">
                  <c:v>615</c:v>
                </c:pt>
                <c:pt idx="3">
                  <c:v>605</c:v>
                </c:pt>
                <c:pt idx="4">
                  <c:v>608</c:v>
                </c:pt>
                <c:pt idx="5">
                  <c:v>359</c:v>
                </c:pt>
                <c:pt idx="6">
                  <c:v>210</c:v>
                </c:pt>
                <c:pt idx="7">
                  <c:v>455</c:v>
                </c:pt>
                <c:pt idx="8">
                  <c:v>657</c:v>
                </c:pt>
                <c:pt idx="9">
                  <c:v>553</c:v>
                </c:pt>
                <c:pt idx="10">
                  <c:v>580</c:v>
                </c:pt>
                <c:pt idx="11">
                  <c:v>566</c:v>
                </c:pt>
                <c:pt idx="12">
                  <c:v>293</c:v>
                </c:pt>
                <c:pt idx="13">
                  <c:v>208</c:v>
                </c:pt>
                <c:pt idx="14">
                  <c:v>556</c:v>
                </c:pt>
                <c:pt idx="15">
                  <c:v>719</c:v>
                </c:pt>
                <c:pt idx="16">
                  <c:v>601</c:v>
                </c:pt>
                <c:pt idx="17">
                  <c:v>646</c:v>
                </c:pt>
                <c:pt idx="18">
                  <c:v>741</c:v>
                </c:pt>
                <c:pt idx="19">
                  <c:v>378</c:v>
                </c:pt>
                <c:pt idx="20">
                  <c:v>285</c:v>
                </c:pt>
                <c:pt idx="21">
                  <c:v>697</c:v>
                </c:pt>
                <c:pt idx="22">
                  <c:v>847</c:v>
                </c:pt>
                <c:pt idx="23">
                  <c:v>752</c:v>
                </c:pt>
                <c:pt idx="24">
                  <c:v>807</c:v>
                </c:pt>
                <c:pt idx="25">
                  <c:v>810</c:v>
                </c:pt>
                <c:pt idx="26">
                  <c:v>409</c:v>
                </c:pt>
                <c:pt idx="27">
                  <c:v>283</c:v>
                </c:pt>
                <c:pt idx="28">
                  <c:v>773</c:v>
                </c:pt>
                <c:pt idx="29">
                  <c:v>917</c:v>
                </c:pt>
                <c:pt idx="30">
                  <c:v>853</c:v>
                </c:pt>
                <c:pt idx="31">
                  <c:v>747</c:v>
                </c:pt>
                <c:pt idx="32">
                  <c:v>713</c:v>
                </c:pt>
                <c:pt idx="33">
                  <c:v>532</c:v>
                </c:pt>
                <c:pt idx="34">
                  <c:v>294</c:v>
                </c:pt>
                <c:pt idx="35">
                  <c:v>586</c:v>
                </c:pt>
                <c:pt idx="36">
                  <c:v>737</c:v>
                </c:pt>
                <c:pt idx="37">
                  <c:v>752</c:v>
                </c:pt>
                <c:pt idx="38">
                  <c:v>640</c:v>
                </c:pt>
                <c:pt idx="39">
                  <c:v>854</c:v>
                </c:pt>
                <c:pt idx="40">
                  <c:v>373</c:v>
                </c:pt>
                <c:pt idx="41">
                  <c:v>220</c:v>
                </c:pt>
                <c:pt idx="42">
                  <c:v>663</c:v>
                </c:pt>
                <c:pt idx="43">
                  <c:v>766</c:v>
                </c:pt>
                <c:pt idx="44">
                  <c:v>673</c:v>
                </c:pt>
                <c:pt idx="45">
                  <c:v>601</c:v>
                </c:pt>
                <c:pt idx="46">
                  <c:v>526</c:v>
                </c:pt>
                <c:pt idx="47">
                  <c:v>352</c:v>
                </c:pt>
                <c:pt idx="48">
                  <c:v>193</c:v>
                </c:pt>
                <c:pt idx="49">
                  <c:v>462</c:v>
                </c:pt>
                <c:pt idx="50">
                  <c:v>618</c:v>
                </c:pt>
                <c:pt idx="51">
                  <c:v>486</c:v>
                </c:pt>
                <c:pt idx="52">
                  <c:v>482</c:v>
                </c:pt>
                <c:pt idx="53">
                  <c:v>439</c:v>
                </c:pt>
                <c:pt idx="54">
                  <c:v>267</c:v>
                </c:pt>
                <c:pt idx="55">
                  <c:v>132</c:v>
                </c:pt>
                <c:pt idx="56">
                  <c:v>427</c:v>
                </c:pt>
                <c:pt idx="57">
                  <c:v>468</c:v>
                </c:pt>
                <c:pt idx="58">
                  <c:v>430</c:v>
                </c:pt>
                <c:pt idx="59">
                  <c:v>360</c:v>
                </c:pt>
                <c:pt idx="60">
                  <c:v>216</c:v>
                </c:pt>
                <c:pt idx="61">
                  <c:v>151</c:v>
                </c:pt>
                <c:pt idx="62">
                  <c:v>150</c:v>
                </c:pt>
                <c:pt idx="63">
                  <c:v>129</c:v>
                </c:pt>
                <c:pt idx="64">
                  <c:v>305</c:v>
                </c:pt>
                <c:pt idx="65">
                  <c:v>307</c:v>
                </c:pt>
                <c:pt idx="66">
                  <c:v>278</c:v>
                </c:pt>
                <c:pt idx="67">
                  <c:v>274</c:v>
                </c:pt>
                <c:pt idx="68">
                  <c:v>131</c:v>
                </c:pt>
                <c:pt idx="69">
                  <c:v>81</c:v>
                </c:pt>
                <c:pt idx="70">
                  <c:v>215</c:v>
                </c:pt>
                <c:pt idx="71">
                  <c:v>245</c:v>
                </c:pt>
                <c:pt idx="72">
                  <c:v>233</c:v>
                </c:pt>
                <c:pt idx="73">
                  <c:v>195</c:v>
                </c:pt>
                <c:pt idx="74">
                  <c:v>193</c:v>
                </c:pt>
                <c:pt idx="75">
                  <c:v>89</c:v>
                </c:pt>
                <c:pt idx="76">
                  <c:v>64</c:v>
                </c:pt>
                <c:pt idx="77">
                  <c:v>170</c:v>
                </c:pt>
                <c:pt idx="78">
                  <c:v>169</c:v>
                </c:pt>
                <c:pt idx="79">
                  <c:v>145</c:v>
                </c:pt>
                <c:pt idx="80">
                  <c:v>148</c:v>
                </c:pt>
                <c:pt idx="81">
                  <c:v>100</c:v>
                </c:pt>
                <c:pt idx="82">
                  <c:v>53</c:v>
                </c:pt>
                <c:pt idx="83">
                  <c:v>48</c:v>
                </c:pt>
                <c:pt idx="84">
                  <c:v>137</c:v>
                </c:pt>
                <c:pt idx="85">
                  <c:v>145</c:v>
                </c:pt>
                <c:pt idx="86">
                  <c:v>108</c:v>
                </c:pt>
                <c:pt idx="87">
                  <c:v>91</c:v>
                </c:pt>
                <c:pt idx="88">
                  <c:v>101</c:v>
                </c:pt>
                <c:pt idx="89">
                  <c:v>65</c:v>
                </c:pt>
                <c:pt idx="90">
                  <c:v>38</c:v>
                </c:pt>
                <c:pt idx="91">
                  <c:v>89</c:v>
                </c:pt>
                <c:pt idx="92">
                  <c:v>93</c:v>
                </c:pt>
                <c:pt idx="93">
                  <c:v>84</c:v>
                </c:pt>
                <c:pt idx="94">
                  <c:v>79</c:v>
                </c:pt>
                <c:pt idx="95">
                  <c:v>59</c:v>
                </c:pt>
                <c:pt idx="96">
                  <c:v>32</c:v>
                </c:pt>
                <c:pt idx="97">
                  <c:v>22</c:v>
                </c:pt>
                <c:pt idx="98">
                  <c:v>84</c:v>
                </c:pt>
                <c:pt idx="99">
                  <c:v>59</c:v>
                </c:pt>
                <c:pt idx="100">
                  <c:v>39</c:v>
                </c:pt>
                <c:pt idx="101">
                  <c:v>50</c:v>
                </c:pt>
                <c:pt idx="102">
                  <c:v>45</c:v>
                </c:pt>
                <c:pt idx="10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4545454545455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011611030478961E-2</c:v>
                </c:pt>
                <c:pt idx="1">
                  <c:v>7.7085215296597412E-2</c:v>
                </c:pt>
                <c:pt idx="2">
                  <c:v>9.1096596768649021E-2</c:v>
                </c:pt>
                <c:pt idx="3">
                  <c:v>7.7447833065810601E-2</c:v>
                </c:pt>
                <c:pt idx="4">
                  <c:v>0.13078291814946619</c:v>
                </c:pt>
                <c:pt idx="5">
                  <c:v>6.7692307692307691E-2</c:v>
                </c:pt>
                <c:pt idx="6">
                  <c:v>9.5624332977588045E-2</c:v>
                </c:pt>
                <c:pt idx="7">
                  <c:v>9.8462244663759468E-2</c:v>
                </c:pt>
                <c:pt idx="8">
                  <c:v>0.11450532124556563</c:v>
                </c:pt>
                <c:pt idx="9">
                  <c:v>8.6745526235972092E-2</c:v>
                </c:pt>
                <c:pt idx="10">
                  <c:v>0.1556486949895218</c:v>
                </c:pt>
                <c:pt idx="11">
                  <c:v>0.16832669322709162</c:v>
                </c:pt>
                <c:pt idx="12">
                  <c:v>7.4506283662477552E-2</c:v>
                </c:pt>
                <c:pt idx="13">
                  <c:v>8.8262620006193865E-2</c:v>
                </c:pt>
                <c:pt idx="14">
                  <c:v>0.12494929006085193</c:v>
                </c:pt>
                <c:pt idx="15">
                  <c:v>0.18130015118036982</c:v>
                </c:pt>
                <c:pt idx="16">
                  <c:v>0.14150566289140573</c:v>
                </c:pt>
                <c:pt idx="17">
                  <c:v>0.14797217037162735</c:v>
                </c:pt>
                <c:pt idx="18">
                  <c:v>0.11496618641576008</c:v>
                </c:pt>
                <c:pt idx="19">
                  <c:v>9.3715718539413878E-2</c:v>
                </c:pt>
                <c:pt idx="20">
                  <c:v>0.13863171816760853</c:v>
                </c:pt>
                <c:pt idx="21">
                  <c:v>0.13663967611336034</c:v>
                </c:pt>
                <c:pt idx="22">
                  <c:v>0.15400278641088844</c:v>
                </c:pt>
                <c:pt idx="23">
                  <c:v>0.17126025667999159</c:v>
                </c:pt>
                <c:pt idx="24">
                  <c:v>0.15957926371149511</c:v>
                </c:pt>
                <c:pt idx="25">
                  <c:v>0.1513526119402985</c:v>
                </c:pt>
                <c:pt idx="26">
                  <c:v>0.1440723019670388</c:v>
                </c:pt>
                <c:pt idx="27">
                  <c:v>0.1457980823463057</c:v>
                </c:pt>
                <c:pt idx="28">
                  <c:v>0.177497883149873</c:v>
                </c:pt>
                <c:pt idx="29">
                  <c:v>0.20685959271168275</c:v>
                </c:pt>
                <c:pt idx="30">
                  <c:v>0.21117893933613124</c:v>
                </c:pt>
                <c:pt idx="31">
                  <c:v>0.21960507757404796</c:v>
                </c:pt>
                <c:pt idx="32">
                  <c:v>0.26156726397432467</c:v>
                </c:pt>
                <c:pt idx="33">
                  <c:v>0.24251089324618735</c:v>
                </c:pt>
                <c:pt idx="34">
                  <c:v>0.24218535154459619</c:v>
                </c:pt>
                <c:pt idx="35">
                  <c:v>0.27563010899182561</c:v>
                </c:pt>
                <c:pt idx="36">
                  <c:v>0.28436568400132495</c:v>
                </c:pt>
                <c:pt idx="37">
                  <c:v>0.39630723781388477</c:v>
                </c:pt>
                <c:pt idx="38">
                  <c:v>0.32717050491945077</c:v>
                </c:pt>
                <c:pt idx="39">
                  <c:v>0.34138187221396732</c:v>
                </c:pt>
                <c:pt idx="40">
                  <c:v>0.2592852137351086</c:v>
                </c:pt>
                <c:pt idx="41">
                  <c:v>0.32795351839896708</c:v>
                </c:pt>
                <c:pt idx="42">
                  <c:v>0.3482261640798226</c:v>
                </c:pt>
                <c:pt idx="43">
                  <c:v>0.35218552833513328</c:v>
                </c:pt>
                <c:pt idx="44">
                  <c:v>0.35666897712644818</c:v>
                </c:pt>
                <c:pt idx="45">
                  <c:v>0.36503824327658524</c:v>
                </c:pt>
                <c:pt idx="46">
                  <c:v>0.37086765203655647</c:v>
                </c:pt>
                <c:pt idx="47">
                  <c:v>0.34877998769735491</c:v>
                </c:pt>
                <c:pt idx="48">
                  <c:v>0.36391188311394579</c:v>
                </c:pt>
                <c:pt idx="49">
                  <c:v>0.40661518767807736</c:v>
                </c:pt>
                <c:pt idx="50">
                  <c:v>0.3880452342487884</c:v>
                </c:pt>
                <c:pt idx="51">
                  <c:v>0.40463215258855584</c:v>
                </c:pt>
                <c:pt idx="52">
                  <c:v>0.38489177109806327</c:v>
                </c:pt>
                <c:pt idx="53">
                  <c:v>0.41476731085882657</c:v>
                </c:pt>
                <c:pt idx="54">
                  <c:v>0.3627546597312527</c:v>
                </c:pt>
                <c:pt idx="55">
                  <c:v>0.38187643353842793</c:v>
                </c:pt>
                <c:pt idx="56">
                  <c:v>0.39484197443181818</c:v>
                </c:pt>
                <c:pt idx="57">
                  <c:v>0.37366425370561873</c:v>
                </c:pt>
                <c:pt idx="58">
                  <c:v>0.34479034780665824</c:v>
                </c:pt>
                <c:pt idx="59">
                  <c:v>0.38167789823224924</c:v>
                </c:pt>
                <c:pt idx="60">
                  <c:v>0.3862888482632541</c:v>
                </c:pt>
                <c:pt idx="61">
                  <c:v>0.37398278789298051</c:v>
                </c:pt>
                <c:pt idx="62">
                  <c:v>0.34585608344878166</c:v>
                </c:pt>
                <c:pt idx="63">
                  <c:v>0.4147494484714781</c:v>
                </c:pt>
                <c:pt idx="64">
                  <c:v>0.38144670995491958</c:v>
                </c:pt>
                <c:pt idx="65">
                  <c:v>0.34433621933621933</c:v>
                </c:pt>
                <c:pt idx="66">
                  <c:v>0.35779302618680858</c:v>
                </c:pt>
                <c:pt idx="67">
                  <c:v>0.32512533176054259</c:v>
                </c:pt>
                <c:pt idx="68">
                  <c:v>0.25533650577838207</c:v>
                </c:pt>
                <c:pt idx="69">
                  <c:v>0.30494687071025472</c:v>
                </c:pt>
                <c:pt idx="70">
                  <c:v>0.32955960602286877</c:v>
                </c:pt>
                <c:pt idx="71">
                  <c:v>0.32155342274200727</c:v>
                </c:pt>
                <c:pt idx="72">
                  <c:v>0.28597044456810733</c:v>
                </c:pt>
                <c:pt idx="73">
                  <c:v>0.32068425490904712</c:v>
                </c:pt>
                <c:pt idx="74">
                  <c:v>0.27659012932172078</c:v>
                </c:pt>
                <c:pt idx="75">
                  <c:v>0.25347783888709158</c:v>
                </c:pt>
                <c:pt idx="76">
                  <c:v>0.30537787254205162</c:v>
                </c:pt>
                <c:pt idx="77">
                  <c:v>0.27176203598638354</c:v>
                </c:pt>
                <c:pt idx="78">
                  <c:v>0.29913536292959386</c:v>
                </c:pt>
                <c:pt idx="79">
                  <c:v>0.27093446601941745</c:v>
                </c:pt>
                <c:pt idx="80">
                  <c:v>0.27497852848554249</c:v>
                </c:pt>
                <c:pt idx="81">
                  <c:v>0.26315789473684209</c:v>
                </c:pt>
                <c:pt idx="82">
                  <c:v>0.22685556446582911</c:v>
                </c:pt>
                <c:pt idx="83">
                  <c:v>0.29104005065695743</c:v>
                </c:pt>
                <c:pt idx="84">
                  <c:v>0.26809872029250459</c:v>
                </c:pt>
                <c:pt idx="85">
                  <c:v>0.26102425876010782</c:v>
                </c:pt>
                <c:pt idx="86">
                  <c:v>0.24137583215654629</c:v>
                </c:pt>
                <c:pt idx="87">
                  <c:v>0.26276676829268292</c:v>
                </c:pt>
                <c:pt idx="88">
                  <c:v>0.21255411255411255</c:v>
                </c:pt>
                <c:pt idx="89">
                  <c:v>0.19746059544658495</c:v>
                </c:pt>
                <c:pt idx="90">
                  <c:v>0.28683446272991286</c:v>
                </c:pt>
                <c:pt idx="91">
                  <c:v>0.24784563506931434</c:v>
                </c:pt>
                <c:pt idx="92">
                  <c:v>0.2758764173515032</c:v>
                </c:pt>
                <c:pt idx="93">
                  <c:v>0.26618705035971224</c:v>
                </c:pt>
                <c:pt idx="94">
                  <c:v>0.30887747615553923</c:v>
                </c:pt>
                <c:pt idx="95">
                  <c:v>0.19984773505900266</c:v>
                </c:pt>
                <c:pt idx="96">
                  <c:v>0.21709646609360075</c:v>
                </c:pt>
                <c:pt idx="97">
                  <c:v>0.28041714947856317</c:v>
                </c:pt>
                <c:pt idx="98">
                  <c:v>0.31453326794180153</c:v>
                </c:pt>
                <c:pt idx="99">
                  <c:v>0.28166013294699166</c:v>
                </c:pt>
                <c:pt idx="100">
                  <c:v>0.26883297313985799</c:v>
                </c:pt>
                <c:pt idx="101">
                  <c:v>0.30830646399508677</c:v>
                </c:pt>
                <c:pt idx="102">
                  <c:v>0.3030482391240012</c:v>
                </c:pt>
                <c:pt idx="103">
                  <c:v>0.23566214807090718</c:v>
                </c:pt>
                <c:pt idx="104">
                  <c:v>0.30723508915761427</c:v>
                </c:pt>
                <c:pt idx="105">
                  <c:v>0.313041803120786</c:v>
                </c:pt>
                <c:pt idx="106">
                  <c:v>0.29627435492364401</c:v>
                </c:pt>
                <c:pt idx="107">
                  <c:v>0.31881365703670489</c:v>
                </c:pt>
                <c:pt idx="108">
                  <c:v>0.285910290237467</c:v>
                </c:pt>
                <c:pt idx="109">
                  <c:v>0.35922107674684994</c:v>
                </c:pt>
                <c:pt idx="110">
                  <c:v>0.27688522217397599</c:v>
                </c:pt>
                <c:pt idx="111">
                  <c:v>0.32763452914798208</c:v>
                </c:pt>
                <c:pt idx="112">
                  <c:v>0.38721181375257419</c:v>
                </c:pt>
                <c:pt idx="113">
                  <c:v>0.41812688821752264</c:v>
                </c:pt>
                <c:pt idx="114">
                  <c:v>0.35223499361430394</c:v>
                </c:pt>
                <c:pt idx="115">
                  <c:v>0.35845314823996033</c:v>
                </c:pt>
                <c:pt idx="116">
                  <c:v>0.34741983435973667</c:v>
                </c:pt>
                <c:pt idx="117">
                  <c:v>0.40037593984962405</c:v>
                </c:pt>
                <c:pt idx="118">
                  <c:v>0.50282736445282183</c:v>
                </c:pt>
                <c:pt idx="119">
                  <c:v>0.49298715203426124</c:v>
                </c:pt>
                <c:pt idx="120">
                  <c:v>0.50227354745579211</c:v>
                </c:pt>
                <c:pt idx="121">
                  <c:v>0.48355355636772562</c:v>
                </c:pt>
                <c:pt idx="122">
                  <c:v>0.36052463211772234</c:v>
                </c:pt>
                <c:pt idx="123">
                  <c:v>0.41209139955569662</c:v>
                </c:pt>
                <c:pt idx="124">
                  <c:v>0.35489127381019275</c:v>
                </c:pt>
                <c:pt idx="125">
                  <c:v>0.41028062601187265</c:v>
                </c:pt>
                <c:pt idx="126">
                  <c:v>0.47677674777906526</c:v>
                </c:pt>
                <c:pt idx="127">
                  <c:v>0.40240743562395248</c:v>
                </c:pt>
                <c:pt idx="128">
                  <c:v>0.35710960533802305</c:v>
                </c:pt>
                <c:pt idx="129">
                  <c:v>0.44223709781904558</c:v>
                </c:pt>
                <c:pt idx="130">
                  <c:v>0.35162351006987258</c:v>
                </c:pt>
                <c:pt idx="131">
                  <c:v>0.27470517752412182</c:v>
                </c:pt>
                <c:pt idx="132">
                  <c:v>0.30407727865354983</c:v>
                </c:pt>
                <c:pt idx="133">
                  <c:v>0.34165030713697675</c:v>
                </c:pt>
                <c:pt idx="134">
                  <c:v>0.27731764022086602</c:v>
                </c:pt>
                <c:pt idx="135">
                  <c:v>0.30805720265085457</c:v>
                </c:pt>
                <c:pt idx="136">
                  <c:v>0.3119825708061002</c:v>
                </c:pt>
                <c:pt idx="137">
                  <c:v>0.29997012249775917</c:v>
                </c:pt>
                <c:pt idx="138">
                  <c:v>0.26534339023421993</c:v>
                </c:pt>
                <c:pt idx="139">
                  <c:v>0.33003371350692201</c:v>
                </c:pt>
                <c:pt idx="140">
                  <c:v>0.30721918966710232</c:v>
                </c:pt>
                <c:pt idx="141">
                  <c:v>0.32286275209709087</c:v>
                </c:pt>
                <c:pt idx="142">
                  <c:v>0.28429018409372042</c:v>
                </c:pt>
                <c:pt idx="143">
                  <c:v>0.30273504273504276</c:v>
                </c:pt>
                <c:pt idx="144">
                  <c:v>0.27299412915851273</c:v>
                </c:pt>
                <c:pt idx="145">
                  <c:v>0.23741423493428124</c:v>
                </c:pt>
                <c:pt idx="146">
                  <c:v>0.3106454685324932</c:v>
                </c:pt>
                <c:pt idx="147">
                  <c:v>0.29738990959463402</c:v>
                </c:pt>
                <c:pt idx="148">
                  <c:v>0.30740892345476872</c:v>
                </c:pt>
                <c:pt idx="149">
                  <c:v>0.26917702434360519</c:v>
                </c:pt>
                <c:pt idx="150">
                  <c:v>0.28125544899738447</c:v>
                </c:pt>
                <c:pt idx="151">
                  <c:v>0.31586303284416489</c:v>
                </c:pt>
                <c:pt idx="152">
                  <c:v>0.24997918921168732</c:v>
                </c:pt>
                <c:pt idx="153">
                  <c:v>0.30321371955613202</c:v>
                </c:pt>
                <c:pt idx="154">
                  <c:v>0.31321208690113933</c:v>
                </c:pt>
                <c:pt idx="155">
                  <c:v>0.28712871287128711</c:v>
                </c:pt>
                <c:pt idx="156">
                  <c:v>0.28189406810962547</c:v>
                </c:pt>
                <c:pt idx="157">
                  <c:v>0.30864406779661019</c:v>
                </c:pt>
                <c:pt idx="158">
                  <c:v>0.26302988186240445</c:v>
                </c:pt>
                <c:pt idx="159">
                  <c:v>0.27147954982157563</c:v>
                </c:pt>
                <c:pt idx="160">
                  <c:v>0.33567192246492117</c:v>
                </c:pt>
                <c:pt idx="161">
                  <c:v>0.32337652829636138</c:v>
                </c:pt>
                <c:pt idx="162">
                  <c:v>0.31388573590616725</c:v>
                </c:pt>
                <c:pt idx="163">
                  <c:v>0.28867761452031115</c:v>
                </c:pt>
                <c:pt idx="164">
                  <c:v>0.29416123295791347</c:v>
                </c:pt>
                <c:pt idx="165">
                  <c:v>0.27796610169491526</c:v>
                </c:pt>
                <c:pt idx="166">
                  <c:v>0.27163091865641442</c:v>
                </c:pt>
                <c:pt idx="167">
                  <c:v>0.36468867264516952</c:v>
                </c:pt>
                <c:pt idx="168">
                  <c:v>0.33498659517426271</c:v>
                </c:pt>
                <c:pt idx="169">
                  <c:v>0.33718434343434345</c:v>
                </c:pt>
                <c:pt idx="170">
                  <c:v>0.30362688228745532</c:v>
                </c:pt>
                <c:pt idx="171">
                  <c:v>0.34939099493636239</c:v>
                </c:pt>
                <c:pt idx="172">
                  <c:v>0.37101449275362319</c:v>
                </c:pt>
                <c:pt idx="173">
                  <c:v>0.30601019586799033</c:v>
                </c:pt>
                <c:pt idx="174">
                  <c:v>0.38221478321904867</c:v>
                </c:pt>
                <c:pt idx="175">
                  <c:v>0.36435138438645903</c:v>
                </c:pt>
                <c:pt idx="176">
                  <c:v>0.36038855909336209</c:v>
                </c:pt>
                <c:pt idx="177">
                  <c:v>0.34019933554817278</c:v>
                </c:pt>
                <c:pt idx="178">
                  <c:v>0.32960368085328873</c:v>
                </c:pt>
                <c:pt idx="179">
                  <c:v>0.32638093055237222</c:v>
                </c:pt>
                <c:pt idx="180">
                  <c:v>0.31502782931354362</c:v>
                </c:pt>
                <c:pt idx="181">
                  <c:v>0.3689230619494866</c:v>
                </c:pt>
                <c:pt idx="182">
                  <c:v>0.36423023507021246</c:v>
                </c:pt>
                <c:pt idx="183">
                  <c:v>0.36655511399288854</c:v>
                </c:pt>
                <c:pt idx="184">
                  <c:v>0.29959331224582014</c:v>
                </c:pt>
                <c:pt idx="185">
                  <c:v>0.41647649475125514</c:v>
                </c:pt>
                <c:pt idx="186">
                  <c:v>0.31150196713723677</c:v>
                </c:pt>
                <c:pt idx="187">
                  <c:v>0.2972070025390886</c:v>
                </c:pt>
                <c:pt idx="188">
                  <c:v>0.36232045429239507</c:v>
                </c:pt>
                <c:pt idx="189">
                  <c:v>0.35472898836954136</c:v>
                </c:pt>
                <c:pt idx="190">
                  <c:v>0.31292263788076186</c:v>
                </c:pt>
                <c:pt idx="191">
                  <c:v>0.3768690024548092</c:v>
                </c:pt>
                <c:pt idx="192">
                  <c:v>0.3369095904749444</c:v>
                </c:pt>
                <c:pt idx="193">
                  <c:v>0.294029402940294</c:v>
                </c:pt>
                <c:pt idx="194">
                  <c:v>0.28015958885582903</c:v>
                </c:pt>
                <c:pt idx="195">
                  <c:v>0.3550065019505852</c:v>
                </c:pt>
                <c:pt idx="196">
                  <c:v>0.34251867113056916</c:v>
                </c:pt>
                <c:pt idx="197">
                  <c:v>0.32516433266647615</c:v>
                </c:pt>
                <c:pt idx="198">
                  <c:v>0.28238378684807258</c:v>
                </c:pt>
                <c:pt idx="199">
                  <c:v>0.27766435279706003</c:v>
                </c:pt>
                <c:pt idx="200">
                  <c:v>0.24618659098971266</c:v>
                </c:pt>
                <c:pt idx="201">
                  <c:v>0.23005844258410993</c:v>
                </c:pt>
                <c:pt idx="202">
                  <c:v>0.30584551148225469</c:v>
                </c:pt>
                <c:pt idx="203">
                  <c:v>0.30272706439538616</c:v>
                </c:pt>
                <c:pt idx="204">
                  <c:v>0.24785276073619633</c:v>
                </c:pt>
                <c:pt idx="205">
                  <c:v>0.25826580226904378</c:v>
                </c:pt>
                <c:pt idx="206">
                  <c:v>0.2752006263456645</c:v>
                </c:pt>
                <c:pt idx="207">
                  <c:v>0.1193298969072165</c:v>
                </c:pt>
                <c:pt idx="208">
                  <c:v>0.20922428593725612</c:v>
                </c:pt>
                <c:pt idx="209">
                  <c:v>0.26184920519177485</c:v>
                </c:pt>
                <c:pt idx="210">
                  <c:v>0.25103549094453015</c:v>
                </c:pt>
                <c:pt idx="211">
                  <c:v>0.23901549680948039</c:v>
                </c:pt>
                <c:pt idx="212">
                  <c:v>0.25657657657657656</c:v>
                </c:pt>
                <c:pt idx="213">
                  <c:v>0.22318392581143739</c:v>
                </c:pt>
                <c:pt idx="214">
                  <c:v>0.18764845605700711</c:v>
                </c:pt>
                <c:pt idx="215">
                  <c:v>9.8273235144743523E-2</c:v>
                </c:pt>
                <c:pt idx="216">
                  <c:v>0.18035577495957103</c:v>
                </c:pt>
                <c:pt idx="217">
                  <c:v>0.25001944768572537</c:v>
                </c:pt>
                <c:pt idx="218">
                  <c:v>0.24009876543209877</c:v>
                </c:pt>
                <c:pt idx="219">
                  <c:v>0.20365585223466359</c:v>
                </c:pt>
                <c:pt idx="220">
                  <c:v>0.17394905777593705</c:v>
                </c:pt>
                <c:pt idx="221">
                  <c:v>0.12893221089942403</c:v>
                </c:pt>
                <c:pt idx="222">
                  <c:v>0.12248706421240139</c:v>
                </c:pt>
                <c:pt idx="223">
                  <c:v>0.18632893823733518</c:v>
                </c:pt>
                <c:pt idx="224">
                  <c:v>0.1500144801621778</c:v>
                </c:pt>
                <c:pt idx="225">
                  <c:v>0.16296382458997324</c:v>
                </c:pt>
                <c:pt idx="226">
                  <c:v>0.14834285714285714</c:v>
                </c:pt>
                <c:pt idx="227">
                  <c:v>0.13360952874158466</c:v>
                </c:pt>
                <c:pt idx="228">
                  <c:v>0.1068738229755179</c:v>
                </c:pt>
                <c:pt idx="229">
                  <c:v>0.11818837964633706</c:v>
                </c:pt>
                <c:pt idx="230">
                  <c:v>0.15284677111196027</c:v>
                </c:pt>
                <c:pt idx="231">
                  <c:v>0.13649950182663567</c:v>
                </c:pt>
                <c:pt idx="232">
                  <c:v>0.13759060234941264</c:v>
                </c:pt>
                <c:pt idx="233">
                  <c:v>0.12417014998770592</c:v>
                </c:pt>
                <c:pt idx="234">
                  <c:v>0.11568047337278106</c:v>
                </c:pt>
                <c:pt idx="235">
                  <c:v>0.12903225806451613</c:v>
                </c:pt>
                <c:pt idx="236">
                  <c:v>9.8760724499523361E-2</c:v>
                </c:pt>
                <c:pt idx="237">
                  <c:v>0.14653943183064605</c:v>
                </c:pt>
                <c:pt idx="238">
                  <c:v>0.11012762453684644</c:v>
                </c:pt>
                <c:pt idx="239">
                  <c:v>0.10952783480256008</c:v>
                </c:pt>
                <c:pt idx="240">
                  <c:v>9.294587400177462E-2</c:v>
                </c:pt>
                <c:pt idx="241">
                  <c:v>0.1168</c:v>
                </c:pt>
                <c:pt idx="242">
                  <c:v>8.4019769357495888E-2</c:v>
                </c:pt>
                <c:pt idx="243">
                  <c:v>7.1024868123587034E-2</c:v>
                </c:pt>
                <c:pt idx="244">
                  <c:v>0.10925478127060892</c:v>
                </c:pt>
                <c:pt idx="245">
                  <c:v>8.3918459796149494E-2</c:v>
                </c:pt>
                <c:pt idx="246">
                  <c:v>8.1147119341563781E-2</c:v>
                </c:pt>
                <c:pt idx="247">
                  <c:v>7.6357747882411564E-2</c:v>
                </c:pt>
                <c:pt idx="248">
                  <c:v>6.6825145272054937E-2</c:v>
                </c:pt>
                <c:pt idx="249">
                  <c:v>6.2036055143160129E-2</c:v>
                </c:pt>
                <c:pt idx="250">
                  <c:v>5.0459898564428778E-2</c:v>
                </c:pt>
                <c:pt idx="251">
                  <c:v>8.9300963767231914E-2</c:v>
                </c:pt>
                <c:pt idx="252">
                  <c:v>6.0370134014039567E-2</c:v>
                </c:pt>
                <c:pt idx="253">
                  <c:v>6.6503878195920713E-2</c:v>
                </c:pt>
                <c:pt idx="254">
                  <c:v>5.9234423023190833E-2</c:v>
                </c:pt>
                <c:pt idx="255">
                  <c:v>5.777345017851347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696252465483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332403533240353E-2</c:v>
                </c:pt>
                <c:pt idx="1">
                  <c:v>3.7019681349578254E-2</c:v>
                </c:pt>
                <c:pt idx="2">
                  <c:v>3.423626787057938E-2</c:v>
                </c:pt>
                <c:pt idx="3">
                  <c:v>4.6101694915254239E-2</c:v>
                </c:pt>
                <c:pt idx="4">
                  <c:v>5.7627118644067797E-2</c:v>
                </c:pt>
                <c:pt idx="5">
                  <c:v>3.1601731601731603E-2</c:v>
                </c:pt>
                <c:pt idx="6">
                  <c:v>4.4776119402985072E-2</c:v>
                </c:pt>
                <c:pt idx="7">
                  <c:v>5.5303717135086132E-2</c:v>
                </c:pt>
                <c:pt idx="8">
                  <c:v>6.4004231684739482E-2</c:v>
                </c:pt>
                <c:pt idx="9">
                  <c:v>5.5350553505535055E-2</c:v>
                </c:pt>
                <c:pt idx="10">
                  <c:v>8.7209302325581398E-2</c:v>
                </c:pt>
                <c:pt idx="11">
                  <c:v>8.0783353733170138E-2</c:v>
                </c:pt>
                <c:pt idx="12">
                  <c:v>4.18546365914787E-2</c:v>
                </c:pt>
                <c:pt idx="13">
                  <c:v>6.3550635506355063E-2</c:v>
                </c:pt>
                <c:pt idx="14">
                  <c:v>8.5358382683275474E-2</c:v>
                </c:pt>
                <c:pt idx="15">
                  <c:v>0.10758377425044091</c:v>
                </c:pt>
                <c:pt idx="16">
                  <c:v>7.6202717590892394E-2</c:v>
                </c:pt>
                <c:pt idx="17">
                  <c:v>9.0932982917214189E-2</c:v>
                </c:pt>
                <c:pt idx="18">
                  <c:v>6.9900687547746365E-2</c:v>
                </c:pt>
                <c:pt idx="19">
                  <c:v>6.8221070811744389E-2</c:v>
                </c:pt>
                <c:pt idx="20">
                  <c:v>8.3363936834373847E-2</c:v>
                </c:pt>
                <c:pt idx="21">
                  <c:v>8.4567688598002067E-2</c:v>
                </c:pt>
                <c:pt idx="22">
                  <c:v>0.1077774052966812</c:v>
                </c:pt>
                <c:pt idx="23">
                  <c:v>0.10936778957083526</c:v>
                </c:pt>
                <c:pt idx="24">
                  <c:v>0.11627906976744186</c:v>
                </c:pt>
                <c:pt idx="25">
                  <c:v>0.10921004732435384</c:v>
                </c:pt>
                <c:pt idx="26">
                  <c:v>8.4087280468334219E-2</c:v>
                </c:pt>
                <c:pt idx="27">
                  <c:v>0.1015625</c:v>
                </c:pt>
                <c:pt idx="28">
                  <c:v>0.12211538461538461</c:v>
                </c:pt>
                <c:pt idx="29">
                  <c:v>0.13097609561752988</c:v>
                </c:pt>
                <c:pt idx="30">
                  <c:v>0.15255955397871263</c:v>
                </c:pt>
                <c:pt idx="31">
                  <c:v>0.15311135371179038</c:v>
                </c:pt>
                <c:pt idx="32">
                  <c:v>0.20034742327735958</c:v>
                </c:pt>
                <c:pt idx="33">
                  <c:v>0.17324718832256519</c:v>
                </c:pt>
                <c:pt idx="34">
                  <c:v>0.16194548369855691</c:v>
                </c:pt>
                <c:pt idx="35">
                  <c:v>0.19313229911103363</c:v>
                </c:pt>
                <c:pt idx="36">
                  <c:v>0.18884263114071606</c:v>
                </c:pt>
                <c:pt idx="37">
                  <c:v>0.262594548308834</c:v>
                </c:pt>
                <c:pt idx="38">
                  <c:v>0.22778443113772456</c:v>
                </c:pt>
                <c:pt idx="39">
                  <c:v>0.22195206668982287</c:v>
                </c:pt>
                <c:pt idx="40">
                  <c:v>0.1783069841905143</c:v>
                </c:pt>
                <c:pt idx="41">
                  <c:v>0.21177347242921013</c:v>
                </c:pt>
                <c:pt idx="42">
                  <c:v>0.22089513059456622</c:v>
                </c:pt>
                <c:pt idx="43">
                  <c:v>0.20881399870382372</c:v>
                </c:pt>
                <c:pt idx="44">
                  <c:v>0.23382904122838835</c:v>
                </c:pt>
                <c:pt idx="45">
                  <c:v>0.23064200872049315</c:v>
                </c:pt>
                <c:pt idx="46">
                  <c:v>0.23624161073825503</c:v>
                </c:pt>
                <c:pt idx="47">
                  <c:v>0.22346689645267845</c:v>
                </c:pt>
                <c:pt idx="48">
                  <c:v>0.23082627118644067</c:v>
                </c:pt>
                <c:pt idx="49">
                  <c:v>0.26355226641998147</c:v>
                </c:pt>
                <c:pt idx="50">
                  <c:v>0.25165967854647098</c:v>
                </c:pt>
                <c:pt idx="51">
                  <c:v>0.26873453517143869</c:v>
                </c:pt>
                <c:pt idx="52">
                  <c:v>0.2519159948243257</c:v>
                </c:pt>
                <c:pt idx="53">
                  <c:v>0.27572883737267301</c:v>
                </c:pt>
                <c:pt idx="54">
                  <c:v>0.25139333570496858</c:v>
                </c:pt>
                <c:pt idx="55">
                  <c:v>0.26664876476906552</c:v>
                </c:pt>
                <c:pt idx="56">
                  <c:v>0.24467680608365019</c:v>
                </c:pt>
                <c:pt idx="57">
                  <c:v>0.23362989323843417</c:v>
                </c:pt>
                <c:pt idx="58">
                  <c:v>0.23370265395516621</c:v>
                </c:pt>
                <c:pt idx="59">
                  <c:v>0.24809677755761811</c:v>
                </c:pt>
                <c:pt idx="60">
                  <c:v>0.27475876079228034</c:v>
                </c:pt>
                <c:pt idx="61">
                  <c:v>0.22046546926385024</c:v>
                </c:pt>
                <c:pt idx="62">
                  <c:v>0.22144741801733886</c:v>
                </c:pt>
                <c:pt idx="63">
                  <c:v>0.26778459676722277</c:v>
                </c:pt>
                <c:pt idx="64">
                  <c:v>0.23905357628501495</c:v>
                </c:pt>
                <c:pt idx="65">
                  <c:v>0.24689336287448221</c:v>
                </c:pt>
                <c:pt idx="66">
                  <c:v>0.26052703069817984</c:v>
                </c:pt>
                <c:pt idx="67">
                  <c:v>0.23156682027649769</c:v>
                </c:pt>
                <c:pt idx="68">
                  <c:v>0.18496777163904235</c:v>
                </c:pt>
                <c:pt idx="69">
                  <c:v>0.20030063885757235</c:v>
                </c:pt>
                <c:pt idx="70">
                  <c:v>0.20434066466427672</c:v>
                </c:pt>
                <c:pt idx="71">
                  <c:v>0.20768386388583973</c:v>
                </c:pt>
                <c:pt idx="72">
                  <c:v>0.20517683811223922</c:v>
                </c:pt>
                <c:pt idx="73">
                  <c:v>0.2359888340133133</c:v>
                </c:pt>
                <c:pt idx="74">
                  <c:v>0.21598190727478325</c:v>
                </c:pt>
                <c:pt idx="75">
                  <c:v>0.15779796668829765</c:v>
                </c:pt>
                <c:pt idx="76">
                  <c:v>0.22080396265955421</c:v>
                </c:pt>
                <c:pt idx="77">
                  <c:v>0.17867213534991028</c:v>
                </c:pt>
                <c:pt idx="78">
                  <c:v>0.20873851072332489</c:v>
                </c:pt>
                <c:pt idx="79">
                  <c:v>0.21138545953360768</c:v>
                </c:pt>
                <c:pt idx="80">
                  <c:v>0.20188214205691238</c:v>
                </c:pt>
                <c:pt idx="81">
                  <c:v>0.21207430340557276</c:v>
                </c:pt>
                <c:pt idx="82">
                  <c:v>0.13050330986655459</c:v>
                </c:pt>
                <c:pt idx="83">
                  <c:v>0.19560200895887064</c:v>
                </c:pt>
                <c:pt idx="84">
                  <c:v>0.18080451658433311</c:v>
                </c:pt>
                <c:pt idx="85">
                  <c:v>0.16367425456877205</c:v>
                </c:pt>
                <c:pt idx="86">
                  <c:v>0.17499672045126591</c:v>
                </c:pt>
                <c:pt idx="87">
                  <c:v>0.22065063649222066</c:v>
                </c:pt>
                <c:pt idx="88">
                  <c:v>0.19654012493993273</c:v>
                </c:pt>
                <c:pt idx="89">
                  <c:v>0.11103704409103896</c:v>
                </c:pt>
                <c:pt idx="90">
                  <c:v>0.18861553304389772</c:v>
                </c:pt>
                <c:pt idx="91">
                  <c:v>0.17635220125786163</c:v>
                </c:pt>
                <c:pt idx="92">
                  <c:v>0.19576864953977194</c:v>
                </c:pt>
                <c:pt idx="93">
                  <c:v>0.19806705643717934</c:v>
                </c:pt>
                <c:pt idx="94">
                  <c:v>0.26845352052754734</c:v>
                </c:pt>
                <c:pt idx="95">
                  <c:v>0.16303436714165967</c:v>
                </c:pt>
                <c:pt idx="96">
                  <c:v>0.12825946742836083</c:v>
                </c:pt>
                <c:pt idx="97">
                  <c:v>0.18693508627773212</c:v>
                </c:pt>
                <c:pt idx="98">
                  <c:v>0.19651589242053791</c:v>
                </c:pt>
                <c:pt idx="99">
                  <c:v>0.2027729636048527</c:v>
                </c:pt>
                <c:pt idx="100">
                  <c:v>0.18606938483547925</c:v>
                </c:pt>
                <c:pt idx="101">
                  <c:v>0.20850722311396469</c:v>
                </c:pt>
                <c:pt idx="102">
                  <c:v>0.21625814458578962</c:v>
                </c:pt>
                <c:pt idx="103">
                  <c:v>0.13700141888696202</c:v>
                </c:pt>
                <c:pt idx="104">
                  <c:v>0.19553826611622738</c:v>
                </c:pt>
                <c:pt idx="105">
                  <c:v>0.18187954698867473</c:v>
                </c:pt>
                <c:pt idx="106">
                  <c:v>0.17323337055351731</c:v>
                </c:pt>
                <c:pt idx="107">
                  <c:v>0.17743672590199247</c:v>
                </c:pt>
                <c:pt idx="108">
                  <c:v>0.17561349693251535</c:v>
                </c:pt>
                <c:pt idx="109">
                  <c:v>0.1859661879658244</c:v>
                </c:pt>
                <c:pt idx="110">
                  <c:v>0.14257425742574256</c:v>
                </c:pt>
                <c:pt idx="111">
                  <c:v>0.16750224286242019</c:v>
                </c:pt>
                <c:pt idx="112">
                  <c:v>0.18059901654000893</c:v>
                </c:pt>
                <c:pt idx="113">
                  <c:v>0.23393868385081037</c:v>
                </c:pt>
                <c:pt idx="114">
                  <c:v>0.21633150517976843</c:v>
                </c:pt>
                <c:pt idx="115">
                  <c:v>0.18535127055306427</c:v>
                </c:pt>
                <c:pt idx="116">
                  <c:v>0.1931641636457794</c:v>
                </c:pt>
                <c:pt idx="117">
                  <c:v>0.1993878939016096</c:v>
                </c:pt>
                <c:pt idx="118">
                  <c:v>0.26679685438327966</c:v>
                </c:pt>
                <c:pt idx="119">
                  <c:v>0.26737553303428035</c:v>
                </c:pt>
                <c:pt idx="120">
                  <c:v>0.29886388305955569</c:v>
                </c:pt>
                <c:pt idx="121">
                  <c:v>0.35339805825242721</c:v>
                </c:pt>
                <c:pt idx="122">
                  <c:v>0.20404332129963898</c:v>
                </c:pt>
                <c:pt idx="123">
                  <c:v>0.25733070348454962</c:v>
                </c:pt>
                <c:pt idx="124">
                  <c:v>0.19497595917966834</c:v>
                </c:pt>
                <c:pt idx="125">
                  <c:v>0.24650728059818969</c:v>
                </c:pt>
                <c:pt idx="126">
                  <c:v>0.28641692879611097</c:v>
                </c:pt>
                <c:pt idx="127">
                  <c:v>0.25909474276075345</c:v>
                </c:pt>
                <c:pt idx="128">
                  <c:v>0.22374893071000856</c:v>
                </c:pt>
                <c:pt idx="129">
                  <c:v>0.28111834546150899</c:v>
                </c:pt>
                <c:pt idx="130">
                  <c:v>0.23439667128987518</c:v>
                </c:pt>
                <c:pt idx="131">
                  <c:v>0.15440080757583041</c:v>
                </c:pt>
                <c:pt idx="132">
                  <c:v>0.2042860107928601</c:v>
                </c:pt>
                <c:pt idx="133">
                  <c:v>0.22601761485360627</c:v>
                </c:pt>
                <c:pt idx="134">
                  <c:v>0.177436540269508</c:v>
                </c:pt>
                <c:pt idx="135">
                  <c:v>0.20726092089728454</c:v>
                </c:pt>
                <c:pt idx="136">
                  <c:v>0.23989758432594901</c:v>
                </c:pt>
                <c:pt idx="137">
                  <c:v>0.22294874499050832</c:v>
                </c:pt>
                <c:pt idx="138">
                  <c:v>0.15952756762640832</c:v>
                </c:pt>
                <c:pt idx="139">
                  <c:v>0.22070372889740894</c:v>
                </c:pt>
                <c:pt idx="140">
                  <c:v>0.20377283028929477</c:v>
                </c:pt>
                <c:pt idx="141">
                  <c:v>0.19544976723231716</c:v>
                </c:pt>
                <c:pt idx="142">
                  <c:v>0.19171835096680043</c:v>
                </c:pt>
                <c:pt idx="143">
                  <c:v>0.22315846697472139</c:v>
                </c:pt>
                <c:pt idx="144">
                  <c:v>0.20581468312068604</c:v>
                </c:pt>
                <c:pt idx="145">
                  <c:v>0.148005148005148</c:v>
                </c:pt>
                <c:pt idx="146">
                  <c:v>0.22123339182752569</c:v>
                </c:pt>
                <c:pt idx="147">
                  <c:v>0.1837214914926994</c:v>
                </c:pt>
                <c:pt idx="148">
                  <c:v>0.21929762327066335</c:v>
                </c:pt>
                <c:pt idx="149">
                  <c:v>0.19021324090935793</c:v>
                </c:pt>
                <c:pt idx="150">
                  <c:v>0.20396284829721362</c:v>
                </c:pt>
                <c:pt idx="151">
                  <c:v>0.20310267401510512</c:v>
                </c:pt>
                <c:pt idx="152">
                  <c:v>0.14928285171904662</c:v>
                </c:pt>
                <c:pt idx="153">
                  <c:v>0.19915840096182746</c:v>
                </c:pt>
                <c:pt idx="154">
                  <c:v>0.21619561393221531</c:v>
                </c:pt>
                <c:pt idx="155">
                  <c:v>0.19253133479777748</c:v>
                </c:pt>
                <c:pt idx="156">
                  <c:v>0.18820669380370872</c:v>
                </c:pt>
                <c:pt idx="157">
                  <c:v>0.23622137843746405</c:v>
                </c:pt>
                <c:pt idx="158">
                  <c:v>0.17798682972718721</c:v>
                </c:pt>
                <c:pt idx="159">
                  <c:v>0.16474789468073767</c:v>
                </c:pt>
                <c:pt idx="160">
                  <c:v>0.21592083084117231</c:v>
                </c:pt>
                <c:pt idx="161">
                  <c:v>0.20493668670128962</c:v>
                </c:pt>
                <c:pt idx="162">
                  <c:v>0.20498649751931169</c:v>
                </c:pt>
                <c:pt idx="163">
                  <c:v>0.18911715713492505</c:v>
                </c:pt>
                <c:pt idx="164">
                  <c:v>0.21659436008676788</c:v>
                </c:pt>
                <c:pt idx="165">
                  <c:v>0.19893850658857978</c:v>
                </c:pt>
                <c:pt idx="166">
                  <c:v>0.17324037818737464</c:v>
                </c:pt>
                <c:pt idx="167">
                  <c:v>0.2333847762234281</c:v>
                </c:pt>
                <c:pt idx="168">
                  <c:v>0.20165118679050567</c:v>
                </c:pt>
                <c:pt idx="169">
                  <c:v>0.21599918162753823</c:v>
                </c:pt>
                <c:pt idx="170">
                  <c:v>0.19145065939063211</c:v>
                </c:pt>
                <c:pt idx="171">
                  <c:v>0.2470961887477314</c:v>
                </c:pt>
                <c:pt idx="172">
                  <c:v>0.2261321455085375</c:v>
                </c:pt>
                <c:pt idx="173">
                  <c:v>0.17952164459379324</c:v>
                </c:pt>
                <c:pt idx="174">
                  <c:v>0.24048768513214958</c:v>
                </c:pt>
                <c:pt idx="175">
                  <c:v>0.20299445777152783</c:v>
                </c:pt>
                <c:pt idx="176">
                  <c:v>0.2227288222260099</c:v>
                </c:pt>
                <c:pt idx="177">
                  <c:v>0.20465594245286747</c:v>
                </c:pt>
                <c:pt idx="178">
                  <c:v>0.21860288534548217</c:v>
                </c:pt>
                <c:pt idx="179">
                  <c:v>0.21281606346058501</c:v>
                </c:pt>
                <c:pt idx="180">
                  <c:v>0.17241762721915421</c:v>
                </c:pt>
                <c:pt idx="181">
                  <c:v>0.22209592255793487</c:v>
                </c:pt>
                <c:pt idx="182">
                  <c:v>0.21019905361542371</c:v>
                </c:pt>
                <c:pt idx="183">
                  <c:v>0.1922551430690557</c:v>
                </c:pt>
                <c:pt idx="184">
                  <c:v>0.16840557886056434</c:v>
                </c:pt>
                <c:pt idx="185">
                  <c:v>0.26312931502598713</c:v>
                </c:pt>
                <c:pt idx="186">
                  <c:v>0.16947207345065035</c:v>
                </c:pt>
                <c:pt idx="187">
                  <c:v>0.12686659644339798</c:v>
                </c:pt>
                <c:pt idx="188">
                  <c:v>0.17549399981954344</c:v>
                </c:pt>
                <c:pt idx="189">
                  <c:v>0.16178492438280831</c:v>
                </c:pt>
                <c:pt idx="190">
                  <c:v>0.1232974244675582</c:v>
                </c:pt>
                <c:pt idx="191">
                  <c:v>0.16542863518984921</c:v>
                </c:pt>
                <c:pt idx="192">
                  <c:v>0.21886565108873396</c:v>
                </c:pt>
                <c:pt idx="193">
                  <c:v>0.15497223624432105</c:v>
                </c:pt>
                <c:pt idx="194">
                  <c:v>0.11868969561277254</c:v>
                </c:pt>
                <c:pt idx="195">
                  <c:v>0.15531847225836296</c:v>
                </c:pt>
                <c:pt idx="196">
                  <c:v>0.13751987281399047</c:v>
                </c:pt>
                <c:pt idx="197">
                  <c:v>0.13103538150778654</c:v>
                </c:pt>
                <c:pt idx="198">
                  <c:v>0.13296956824257516</c:v>
                </c:pt>
                <c:pt idx="199">
                  <c:v>0.2053769401330377</c:v>
                </c:pt>
                <c:pt idx="200">
                  <c:v>0.12552037340734198</c:v>
                </c:pt>
                <c:pt idx="201">
                  <c:v>9.5559436858261876E-2</c:v>
                </c:pt>
                <c:pt idx="202">
                  <c:v>0.12994089664119937</c:v>
                </c:pt>
                <c:pt idx="203">
                  <c:v>0.10723718964606445</c:v>
                </c:pt>
                <c:pt idx="204">
                  <c:v>0.10137891507366575</c:v>
                </c:pt>
                <c:pt idx="205">
                  <c:v>0.11905040802780055</c:v>
                </c:pt>
                <c:pt idx="206">
                  <c:v>0.18496561536637421</c:v>
                </c:pt>
                <c:pt idx="207">
                  <c:v>0.12579263067694943</c:v>
                </c:pt>
                <c:pt idx="208">
                  <c:v>8.18311642820575E-2</c:v>
                </c:pt>
                <c:pt idx="209">
                  <c:v>0.10762219863911605</c:v>
                </c:pt>
                <c:pt idx="210">
                  <c:v>9.1962418246406163E-2</c:v>
                </c:pt>
                <c:pt idx="211">
                  <c:v>7.4443871202694911E-2</c:v>
                </c:pt>
                <c:pt idx="212">
                  <c:v>0.14683417085427136</c:v>
                </c:pt>
                <c:pt idx="213">
                  <c:v>0.15663031452505136</c:v>
                </c:pt>
                <c:pt idx="214">
                  <c:v>0.14389862871029335</c:v>
                </c:pt>
                <c:pt idx="215">
                  <c:v>8.9775561097256859E-2</c:v>
                </c:pt>
                <c:pt idx="216">
                  <c:v>5.2560444511187868E-2</c:v>
                </c:pt>
                <c:pt idx="217">
                  <c:v>7.7910500980566941E-2</c:v>
                </c:pt>
                <c:pt idx="218">
                  <c:v>6.7027734360801131E-2</c:v>
                </c:pt>
                <c:pt idx="219">
                  <c:v>8.1851512373968829E-2</c:v>
                </c:pt>
                <c:pt idx="220">
                  <c:v>0.12324649298597194</c:v>
                </c:pt>
                <c:pt idx="221">
                  <c:v>6.6192733017377561E-2</c:v>
                </c:pt>
                <c:pt idx="222">
                  <c:v>4.8565859092174882E-2</c:v>
                </c:pt>
                <c:pt idx="223">
                  <c:v>6.4859150550338904E-2</c:v>
                </c:pt>
                <c:pt idx="224">
                  <c:v>5.3297423721606008E-2</c:v>
                </c:pt>
                <c:pt idx="225">
                  <c:v>4.7266856885418228E-2</c:v>
                </c:pt>
                <c:pt idx="226">
                  <c:v>6.8492462311557784E-2</c:v>
                </c:pt>
                <c:pt idx="227">
                  <c:v>9.9480440097799508E-2</c:v>
                </c:pt>
                <c:pt idx="228">
                  <c:v>5.6028160750953356E-2</c:v>
                </c:pt>
                <c:pt idx="229">
                  <c:v>4.1583764424990052E-2</c:v>
                </c:pt>
                <c:pt idx="230">
                  <c:v>4.7723911257189812E-2</c:v>
                </c:pt>
                <c:pt idx="231">
                  <c:v>4.3746783324755532E-2</c:v>
                </c:pt>
                <c:pt idx="232">
                  <c:v>3.8222646918299095E-2</c:v>
                </c:pt>
                <c:pt idx="233">
                  <c:v>5.6359901808526625E-2</c:v>
                </c:pt>
                <c:pt idx="234">
                  <c:v>8.594776010506347E-2</c:v>
                </c:pt>
                <c:pt idx="235">
                  <c:v>6.3853153435833074E-2</c:v>
                </c:pt>
                <c:pt idx="236">
                  <c:v>3.196620715243885E-2</c:v>
                </c:pt>
                <c:pt idx="237">
                  <c:v>4.2011247105524313E-2</c:v>
                </c:pt>
                <c:pt idx="238">
                  <c:v>3.720034087961762E-2</c:v>
                </c:pt>
                <c:pt idx="239">
                  <c:v>3.2549793647945455E-2</c:v>
                </c:pt>
                <c:pt idx="240">
                  <c:v>4.6518389300770457E-2</c:v>
                </c:pt>
                <c:pt idx="241">
                  <c:v>9.7480451781059949E-2</c:v>
                </c:pt>
                <c:pt idx="242">
                  <c:v>3.3025805588982486E-2</c:v>
                </c:pt>
                <c:pt idx="243">
                  <c:v>2.508922947722024E-2</c:v>
                </c:pt>
                <c:pt idx="244">
                  <c:v>3.3054699170454185E-2</c:v>
                </c:pt>
                <c:pt idx="245">
                  <c:v>2.963236652503233E-2</c:v>
                </c:pt>
                <c:pt idx="246">
                  <c:v>2.5135664757310824E-2</c:v>
                </c:pt>
                <c:pt idx="247">
                  <c:v>3.7664688725736702E-2</c:v>
                </c:pt>
                <c:pt idx="248">
                  <c:v>5.7177828291659384E-2</c:v>
                </c:pt>
                <c:pt idx="249">
                  <c:v>2.5943396226415096E-2</c:v>
                </c:pt>
                <c:pt idx="250">
                  <c:v>1.9461641991924631E-2</c:v>
                </c:pt>
                <c:pt idx="251">
                  <c:v>2.2112502204196791E-2</c:v>
                </c:pt>
                <c:pt idx="252">
                  <c:v>2.0757020757020756E-2</c:v>
                </c:pt>
                <c:pt idx="253">
                  <c:v>2.0523323858886475E-2</c:v>
                </c:pt>
                <c:pt idx="254">
                  <c:v>2.6487706378429742E-2</c:v>
                </c:pt>
                <c:pt idx="255">
                  <c:v>4.766893661602933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48004434438759E-2"/>
          <c:y val="3.26071322589827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v>0,0159716060337178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1.9988895058300944E-2</c:v>
                </c:pt>
                <c:pt idx="1">
                  <c:v>2.4899598393574297E-2</c:v>
                </c:pt>
                <c:pt idx="2">
                  <c:v>2.5153374233128835E-2</c:v>
                </c:pt>
                <c:pt idx="3">
                  <c:v>2.1935483870967741E-2</c:v>
                </c:pt>
                <c:pt idx="4">
                  <c:v>4.9230769230769231E-2</c:v>
                </c:pt>
                <c:pt idx="5">
                  <c:v>2.3614895549500452E-2</c:v>
                </c:pt>
                <c:pt idx="6">
                  <c:v>2.8078817733990149E-2</c:v>
                </c:pt>
                <c:pt idx="7">
                  <c:v>2.8515878159429683E-2</c:v>
                </c:pt>
                <c:pt idx="8">
                  <c:v>5.4072096128170898E-2</c:v>
                </c:pt>
                <c:pt idx="9">
                  <c:v>4.9730377471539841E-2</c:v>
                </c:pt>
                <c:pt idx="10">
                  <c:v>6.25E-2</c:v>
                </c:pt>
                <c:pt idx="11">
                  <c:v>6.5040650406504072E-2</c:v>
                </c:pt>
                <c:pt idx="12">
                  <c:v>3.4263338228095935E-2</c:v>
                </c:pt>
                <c:pt idx="13">
                  <c:v>3.8823529411764708E-2</c:v>
                </c:pt>
                <c:pt idx="14">
                  <c:v>4.3154178109062379E-2</c:v>
                </c:pt>
                <c:pt idx="15">
                  <c:v>7.2109881724532615E-2</c:v>
                </c:pt>
                <c:pt idx="16">
                  <c:v>4.4899951195705223E-2</c:v>
                </c:pt>
                <c:pt idx="17">
                  <c:v>0.12101910828025478</c:v>
                </c:pt>
                <c:pt idx="18">
                  <c:v>7.45721271393643E-2</c:v>
                </c:pt>
                <c:pt idx="19">
                  <c:v>3.6185610898254575E-2</c:v>
                </c:pt>
                <c:pt idx="20">
                  <c:v>3.5127911416571213E-2</c:v>
                </c:pt>
                <c:pt idx="21">
                  <c:v>3.9283252929014474E-2</c:v>
                </c:pt>
                <c:pt idx="22">
                  <c:v>9.3601089176310409E-2</c:v>
                </c:pt>
                <c:pt idx="23">
                  <c:v>6.6791510611735327E-2</c:v>
                </c:pt>
                <c:pt idx="24">
                  <c:v>6.4723032069970848E-2</c:v>
                </c:pt>
                <c:pt idx="25">
                  <c:v>7.1736011477761832E-2</c:v>
                </c:pt>
                <c:pt idx="26">
                  <c:v>4.7504798464491363E-2</c:v>
                </c:pt>
                <c:pt idx="27">
                  <c:v>3.889255108767304E-2</c:v>
                </c:pt>
                <c:pt idx="28">
                  <c:v>9.5806451612903229E-2</c:v>
                </c:pt>
                <c:pt idx="29">
                  <c:v>6.6848567530695777E-2</c:v>
                </c:pt>
                <c:pt idx="30">
                  <c:v>8.5807600950118759E-2</c:v>
                </c:pt>
                <c:pt idx="31">
                  <c:v>9.5338983050847453E-2</c:v>
                </c:pt>
                <c:pt idx="32">
                  <c:v>0.10169491525423729</c:v>
                </c:pt>
                <c:pt idx="33">
                  <c:v>6.104468219005664E-2</c:v>
                </c:pt>
                <c:pt idx="34">
                  <c:v>0.12132701421800948</c:v>
                </c:pt>
                <c:pt idx="35">
                  <c:v>0.10234093637454982</c:v>
                </c:pt>
                <c:pt idx="36">
                  <c:v>6.9747166521360066E-2</c:v>
                </c:pt>
                <c:pt idx="37">
                  <c:v>0.16427340608845492</c:v>
                </c:pt>
                <c:pt idx="38">
                  <c:v>0.12515856236786468</c:v>
                </c:pt>
                <c:pt idx="39">
                  <c:v>0.21368948247078465</c:v>
                </c:pt>
                <c:pt idx="40">
                  <c:v>7.7881619937694699E-2</c:v>
                </c:pt>
                <c:pt idx="41">
                  <c:v>0.17070917070917072</c:v>
                </c:pt>
                <c:pt idx="42">
                  <c:v>0.135429510891903</c:v>
                </c:pt>
                <c:pt idx="43">
                  <c:v>0.15064562410329985</c:v>
                </c:pt>
                <c:pt idx="44">
                  <c:v>0.17189835575485798</c:v>
                </c:pt>
                <c:pt idx="45">
                  <c:v>0.1815973276647434</c:v>
                </c:pt>
                <c:pt idx="46">
                  <c:v>0.18282828282828284</c:v>
                </c:pt>
                <c:pt idx="47">
                  <c:v>0.12250453720508167</c:v>
                </c:pt>
                <c:pt idx="48">
                  <c:v>0.18466012359142131</c:v>
                </c:pt>
                <c:pt idx="49">
                  <c:v>0.21054506590666192</c:v>
                </c:pt>
                <c:pt idx="50">
                  <c:v>0.14025764895330112</c:v>
                </c:pt>
                <c:pt idx="51">
                  <c:v>0.26162682972021495</c:v>
                </c:pt>
                <c:pt idx="52">
                  <c:v>0.16186460529397986</c:v>
                </c:pt>
                <c:pt idx="53">
                  <c:v>0.18385256691531374</c:v>
                </c:pt>
                <c:pt idx="54">
                  <c:v>0.16419797687861271</c:v>
                </c:pt>
                <c:pt idx="55">
                  <c:v>0.22922134733158356</c:v>
                </c:pt>
                <c:pt idx="56">
                  <c:v>0.16713823767178659</c:v>
                </c:pt>
                <c:pt idx="57">
                  <c:v>0.19851166532582462</c:v>
                </c:pt>
                <c:pt idx="58">
                  <c:v>0.15869400151860288</c:v>
                </c:pt>
                <c:pt idx="59">
                  <c:v>0.17450927668728153</c:v>
                </c:pt>
                <c:pt idx="60">
                  <c:v>0.18158783783783783</c:v>
                </c:pt>
                <c:pt idx="61">
                  <c:v>9.9043331457512665E-2</c:v>
                </c:pt>
                <c:pt idx="62">
                  <c:v>0.13118204138898631</c:v>
                </c:pt>
                <c:pt idx="63">
                  <c:v>0.22127454135822336</c:v>
                </c:pt>
                <c:pt idx="64">
                  <c:v>0.13740585774058578</c:v>
                </c:pt>
                <c:pt idx="65">
                  <c:v>0.13440492476060192</c:v>
                </c:pt>
                <c:pt idx="66">
                  <c:v>0.14116602545131696</c:v>
                </c:pt>
                <c:pt idx="67">
                  <c:v>0.14148103552077063</c:v>
                </c:pt>
                <c:pt idx="68">
                  <c:v>7.2537112010796226E-2</c:v>
                </c:pt>
                <c:pt idx="69">
                  <c:v>5.340031630849381E-2</c:v>
                </c:pt>
                <c:pt idx="70">
                  <c:v>3.9105181436540341E-2</c:v>
                </c:pt>
                <c:pt idx="71">
                  <c:v>3.8851253546407269E-2</c:v>
                </c:pt>
                <c:pt idx="72">
                  <c:v>3.4837405623922478E-2</c:v>
                </c:pt>
                <c:pt idx="73">
                  <c:v>9.2884302009777292E-2</c:v>
                </c:pt>
                <c:pt idx="74">
                  <c:v>3.959484346224678E-2</c:v>
                </c:pt>
                <c:pt idx="75">
                  <c:v>2.5806758233924244E-2</c:v>
                </c:pt>
                <c:pt idx="76">
                  <c:v>5.5524397083567024E-2</c:v>
                </c:pt>
                <c:pt idx="77">
                  <c:v>2.2151771740439023E-2</c:v>
                </c:pt>
                <c:pt idx="78">
                  <c:v>4.9433929651715496E-2</c:v>
                </c:pt>
                <c:pt idx="79">
                  <c:v>4.4088521484543182E-2</c:v>
                </c:pt>
                <c:pt idx="80">
                  <c:v>2.6086122566414117E-2</c:v>
                </c:pt>
                <c:pt idx="81">
                  <c:v>2.6455906821963394E-2</c:v>
                </c:pt>
                <c:pt idx="82">
                  <c:v>9.8395977974622927E-3</c:v>
                </c:pt>
                <c:pt idx="83">
                  <c:v>3.1609031151757644E-2</c:v>
                </c:pt>
                <c:pt idx="84">
                  <c:v>3.040286688630715E-2</c:v>
                </c:pt>
                <c:pt idx="85">
                  <c:v>2.4312262705655098E-2</c:v>
                </c:pt>
                <c:pt idx="86">
                  <c:v>2.6080286371771927E-2</c:v>
                </c:pt>
                <c:pt idx="87">
                  <c:v>2.3986519972247003E-2</c:v>
                </c:pt>
                <c:pt idx="88">
                  <c:v>2.4476295479603088E-2</c:v>
                </c:pt>
                <c:pt idx="89">
                  <c:v>1.0293510718360807E-2</c:v>
                </c:pt>
                <c:pt idx="90">
                  <c:v>2.1410897338787052E-2</c:v>
                </c:pt>
                <c:pt idx="91">
                  <c:v>2.0654537132395012E-2</c:v>
                </c:pt>
                <c:pt idx="92">
                  <c:v>2.3363838047698281E-2</c:v>
                </c:pt>
                <c:pt idx="93">
                  <c:v>3.102844273917758E-2</c:v>
                </c:pt>
                <c:pt idx="94">
                  <c:v>4.6209662020240592E-2</c:v>
                </c:pt>
                <c:pt idx="95">
                  <c:v>2.7369992535456581E-2</c:v>
                </c:pt>
                <c:pt idx="96">
                  <c:v>1.4407334643091027E-2</c:v>
                </c:pt>
                <c:pt idx="97">
                  <c:v>3.4949267192784669E-2</c:v>
                </c:pt>
                <c:pt idx="98">
                  <c:v>3.334622823984526E-2</c:v>
                </c:pt>
                <c:pt idx="99">
                  <c:v>3.4862701213738488E-2</c:v>
                </c:pt>
                <c:pt idx="100">
                  <c:v>3.1394555243800713E-2</c:v>
                </c:pt>
                <c:pt idx="101">
                  <c:v>3.8226046665563465E-2</c:v>
                </c:pt>
                <c:pt idx="102">
                  <c:v>3.550692273336311E-2</c:v>
                </c:pt>
                <c:pt idx="103">
                  <c:v>1.9657277920031514E-2</c:v>
                </c:pt>
                <c:pt idx="104">
                  <c:v>3.7032156035846073E-2</c:v>
                </c:pt>
                <c:pt idx="105">
                  <c:v>3.2467532467532464E-2</c:v>
                </c:pt>
                <c:pt idx="106">
                  <c:v>3.5462401907221615E-2</c:v>
                </c:pt>
                <c:pt idx="107">
                  <c:v>3.1232254400908575E-2</c:v>
                </c:pt>
                <c:pt idx="108">
                  <c:v>4.9271433412402574E-2</c:v>
                </c:pt>
                <c:pt idx="109">
                  <c:v>5.1657481286501605E-2</c:v>
                </c:pt>
                <c:pt idx="110">
                  <c:v>2.6969903788996278E-2</c:v>
                </c:pt>
                <c:pt idx="111">
                  <c:v>3.5786160276588062E-2</c:v>
                </c:pt>
                <c:pt idx="112">
                  <c:v>4.1020922123208056E-2</c:v>
                </c:pt>
                <c:pt idx="113">
                  <c:v>7.576465094559888E-2</c:v>
                </c:pt>
                <c:pt idx="114">
                  <c:v>6.6051249403151366E-2</c:v>
                </c:pt>
                <c:pt idx="115">
                  <c:v>4.9372064039881126E-2</c:v>
                </c:pt>
                <c:pt idx="116">
                  <c:v>6.5227293431720873E-2</c:v>
                </c:pt>
                <c:pt idx="117">
                  <c:v>4.0354209318961054E-2</c:v>
                </c:pt>
                <c:pt idx="118">
                  <c:v>6.7803822830596827E-2</c:v>
                </c:pt>
                <c:pt idx="119">
                  <c:v>7.4605300253735546E-2</c:v>
                </c:pt>
                <c:pt idx="120">
                  <c:v>9.4777890810444215E-2</c:v>
                </c:pt>
                <c:pt idx="121">
                  <c:v>0.11018164435946463</c:v>
                </c:pt>
                <c:pt idx="122">
                  <c:v>7.3313985627418463E-2</c:v>
                </c:pt>
                <c:pt idx="123">
                  <c:v>0.100872007094295</c:v>
                </c:pt>
                <c:pt idx="124">
                  <c:v>4.2160446711927049E-2</c:v>
                </c:pt>
                <c:pt idx="125">
                  <c:v>7.5019152572337794E-2</c:v>
                </c:pt>
                <c:pt idx="126">
                  <c:v>7.716436637390213E-2</c:v>
                </c:pt>
                <c:pt idx="127">
                  <c:v>6.2636244731870364E-2</c:v>
                </c:pt>
                <c:pt idx="128">
                  <c:v>4.819855335778684E-2</c:v>
                </c:pt>
                <c:pt idx="129">
                  <c:v>7.0821731991147288E-2</c:v>
                </c:pt>
                <c:pt idx="130">
                  <c:v>7.2515212981744417E-2</c:v>
                </c:pt>
                <c:pt idx="131">
                  <c:v>3.2150331745112885E-2</c:v>
                </c:pt>
                <c:pt idx="132">
                  <c:v>4.5937510958375706E-2</c:v>
                </c:pt>
                <c:pt idx="133">
                  <c:v>4.7606270842117368E-2</c:v>
                </c:pt>
                <c:pt idx="134">
                  <c:v>3.9919338244372195E-2</c:v>
                </c:pt>
                <c:pt idx="135">
                  <c:v>3.7601815003533309E-2</c:v>
                </c:pt>
                <c:pt idx="136">
                  <c:v>6.4980505848245523E-2</c:v>
                </c:pt>
                <c:pt idx="137">
                  <c:v>4.7959662288930581E-2</c:v>
                </c:pt>
                <c:pt idx="138">
                  <c:v>2.6672588103137492E-2</c:v>
                </c:pt>
                <c:pt idx="139">
                  <c:v>4.3777306743954664E-2</c:v>
                </c:pt>
                <c:pt idx="140">
                  <c:v>4.2239043080085976E-2</c:v>
                </c:pt>
                <c:pt idx="141">
                  <c:v>4.1765831350039667E-2</c:v>
                </c:pt>
                <c:pt idx="142">
                  <c:v>3.3893881203624299E-2</c:v>
                </c:pt>
                <c:pt idx="143">
                  <c:v>4.8882215548882217E-2</c:v>
                </c:pt>
                <c:pt idx="144">
                  <c:v>4.9850873455475071E-2</c:v>
                </c:pt>
                <c:pt idx="145">
                  <c:v>2.6696981061316332E-2</c:v>
                </c:pt>
                <c:pt idx="146">
                  <c:v>3.9453660021305736E-2</c:v>
                </c:pt>
                <c:pt idx="147">
                  <c:v>3.7779833487511565E-2</c:v>
                </c:pt>
                <c:pt idx="148">
                  <c:v>3.1016942670287224E-2</c:v>
                </c:pt>
                <c:pt idx="149">
                  <c:v>2.6898469165578E-2</c:v>
                </c:pt>
                <c:pt idx="150">
                  <c:v>3.5619886721208305E-2</c:v>
                </c:pt>
                <c:pt idx="151">
                  <c:v>3.9897698209718668E-2</c:v>
                </c:pt>
                <c:pt idx="152">
                  <c:v>2.1923349175851956E-2</c:v>
                </c:pt>
                <c:pt idx="153">
                  <c:v>3.887386670908223E-2</c:v>
                </c:pt>
                <c:pt idx="154">
                  <c:v>3.7589403123897497E-2</c:v>
                </c:pt>
                <c:pt idx="155">
                  <c:v>3.2644351730946847E-2</c:v>
                </c:pt>
                <c:pt idx="156">
                  <c:v>2.9410898813554333E-2</c:v>
                </c:pt>
                <c:pt idx="157">
                  <c:v>3.7806011775643009E-2</c:v>
                </c:pt>
                <c:pt idx="158">
                  <c:v>3.6947738824449371E-2</c:v>
                </c:pt>
                <c:pt idx="159">
                  <c:v>2.6013198914935826E-2</c:v>
                </c:pt>
                <c:pt idx="160">
                  <c:v>3.5580304806565065E-2</c:v>
                </c:pt>
                <c:pt idx="161">
                  <c:v>3.6441982148353341E-2</c:v>
                </c:pt>
                <c:pt idx="162">
                  <c:v>3.641139994501634E-2</c:v>
                </c:pt>
                <c:pt idx="163">
                  <c:v>2.4759029763796209E-2</c:v>
                </c:pt>
                <c:pt idx="164">
                  <c:v>3.9390224401684347E-2</c:v>
                </c:pt>
                <c:pt idx="165">
                  <c:v>3.1326429723682159E-2</c:v>
                </c:pt>
                <c:pt idx="166">
                  <c:v>2.4867780463031067E-2</c:v>
                </c:pt>
                <c:pt idx="167">
                  <c:v>3.8794462090536573E-2</c:v>
                </c:pt>
                <c:pt idx="168">
                  <c:v>3.6230067194865108E-2</c:v>
                </c:pt>
                <c:pt idx="169">
                  <c:v>3.3667759984564921E-2</c:v>
                </c:pt>
                <c:pt idx="170">
                  <c:v>2.7148116932085346E-2</c:v>
                </c:pt>
                <c:pt idx="171">
                  <c:v>4.5839139956201473E-2</c:v>
                </c:pt>
                <c:pt idx="172">
                  <c:v>3.4103363965938792E-2</c:v>
                </c:pt>
                <c:pt idx="173">
                  <c:v>2.6013372335979942E-2</c:v>
                </c:pt>
                <c:pt idx="174">
                  <c:v>3.8094685317391221E-2</c:v>
                </c:pt>
                <c:pt idx="175">
                  <c:v>3.1637074816888447E-2</c:v>
                </c:pt>
                <c:pt idx="176">
                  <c:v>3.3891562156632443E-2</c:v>
                </c:pt>
                <c:pt idx="177">
                  <c:v>2.687015170967217E-2</c:v>
                </c:pt>
                <c:pt idx="178">
                  <c:v>3.6048942925733754E-2</c:v>
                </c:pt>
                <c:pt idx="179">
                  <c:v>3.2066463666779448E-2</c:v>
                </c:pt>
                <c:pt idx="180">
                  <c:v>2.1844690031593051E-2</c:v>
                </c:pt>
                <c:pt idx="181">
                  <c:v>3.0786179881874102E-2</c:v>
                </c:pt>
                <c:pt idx="182">
                  <c:v>2.6771029135338346E-2</c:v>
                </c:pt>
                <c:pt idx="183">
                  <c:v>2.1006994049467681E-2</c:v>
                </c:pt>
                <c:pt idx="184">
                  <c:v>1.8380341532121945E-2</c:v>
                </c:pt>
                <c:pt idx="185">
                  <c:v>3.6146377893950712E-2</c:v>
                </c:pt>
                <c:pt idx="186">
                  <c:v>2.2194932007428263E-2</c:v>
                </c:pt>
                <c:pt idx="187">
                  <c:v>9.0650245000662173E-3</c:v>
                </c:pt>
                <c:pt idx="188">
                  <c:v>1.0977721875761428E-2</c:v>
                </c:pt>
                <c:pt idx="189">
                  <c:v>1.0447885181895444E-2</c:v>
                </c:pt>
                <c:pt idx="190">
                  <c:v>7.9861581106291813E-3</c:v>
                </c:pt>
                <c:pt idx="191">
                  <c:v>1.4881432206419415E-2</c:v>
                </c:pt>
                <c:pt idx="192">
                  <c:v>2.322526979401528E-2</c:v>
                </c:pt>
                <c:pt idx="193">
                  <c:v>1.4084802246861311E-2</c:v>
                </c:pt>
                <c:pt idx="194">
                  <c:v>7.1202181764575805E-3</c:v>
                </c:pt>
                <c:pt idx="195">
                  <c:v>9.2582624609753479E-3</c:v>
                </c:pt>
                <c:pt idx="196">
                  <c:v>8.4008628228298254E-3</c:v>
                </c:pt>
                <c:pt idx="197">
                  <c:v>8.0584707646176919E-3</c:v>
                </c:pt>
                <c:pt idx="198">
                  <c:v>8.9411764705882354E-3</c:v>
                </c:pt>
                <c:pt idx="199">
                  <c:v>1.6196574568497553E-2</c:v>
                </c:pt>
                <c:pt idx="200">
                  <c:v>1.0273546137561745E-2</c:v>
                </c:pt>
                <c:pt idx="201">
                  <c:v>4.1177006468069597E-3</c:v>
                </c:pt>
                <c:pt idx="202">
                  <c:v>6.2839291201474958E-3</c:v>
                </c:pt>
                <c:pt idx="203">
                  <c:v>6.4110894520251248E-3</c:v>
                </c:pt>
                <c:pt idx="204">
                  <c:v>5.6396556841792813E-3</c:v>
                </c:pt>
                <c:pt idx="205">
                  <c:v>6.8428285590185064E-3</c:v>
                </c:pt>
                <c:pt idx="206">
                  <c:v>1.4833525918361862E-2</c:v>
                </c:pt>
                <c:pt idx="207">
                  <c:v>8.8061643150205149E-3</c:v>
                </c:pt>
                <c:pt idx="208">
                  <c:v>3.5511576602625886E-3</c:v>
                </c:pt>
                <c:pt idx="209">
                  <c:v>5.2141169819701592E-3</c:v>
                </c:pt>
                <c:pt idx="210">
                  <c:v>4.8121824197046208E-3</c:v>
                </c:pt>
                <c:pt idx="211">
                  <c:v>4.0908601571751531E-3</c:v>
                </c:pt>
                <c:pt idx="212">
                  <c:v>1.2769949048116486E-2</c:v>
                </c:pt>
                <c:pt idx="213">
                  <c:v>9.010098566850094E-3</c:v>
                </c:pt>
                <c:pt idx="214">
                  <c:v>1.155721422982002E-2</c:v>
                </c:pt>
                <c:pt idx="215">
                  <c:v>5.8237454597106393E-3</c:v>
                </c:pt>
                <c:pt idx="216">
                  <c:v>2.1328439365850935E-3</c:v>
                </c:pt>
                <c:pt idx="217">
                  <c:v>3.7567945689319054E-3</c:v>
                </c:pt>
                <c:pt idx="218">
                  <c:v>3.7705221197115086E-3</c:v>
                </c:pt>
                <c:pt idx="219">
                  <c:v>4.550691661654626E-3</c:v>
                </c:pt>
                <c:pt idx="220">
                  <c:v>7.9575596816976128E-3</c:v>
                </c:pt>
                <c:pt idx="221">
                  <c:v>4.2251518413943005E-3</c:v>
                </c:pt>
                <c:pt idx="222">
                  <c:v>1.7539042810836506E-3</c:v>
                </c:pt>
                <c:pt idx="223">
                  <c:v>2.270751244057199E-3</c:v>
                </c:pt>
                <c:pt idx="224">
                  <c:v>2.2685908441735883E-3</c:v>
                </c:pt>
                <c:pt idx="225">
                  <c:v>2.318498456090801E-3</c:v>
                </c:pt>
                <c:pt idx="226">
                  <c:v>2.940990948371022E-3</c:v>
                </c:pt>
                <c:pt idx="227">
                  <c:v>5.6589569867351967E-3</c:v>
                </c:pt>
                <c:pt idx="228">
                  <c:v>3.00798483246436E-3</c:v>
                </c:pt>
                <c:pt idx="229">
                  <c:v>1.6850265197878417E-3</c:v>
                </c:pt>
                <c:pt idx="230">
                  <c:v>2.3066080047840758E-3</c:v>
                </c:pt>
                <c:pt idx="231">
                  <c:v>1.9878081102570897E-3</c:v>
                </c:pt>
                <c:pt idx="232">
                  <c:v>1.6517643135538465E-3</c:v>
                </c:pt>
                <c:pt idx="233">
                  <c:v>2.2658032119291477E-3</c:v>
                </c:pt>
                <c:pt idx="234">
                  <c:v>4.2007932224073594E-3</c:v>
                </c:pt>
                <c:pt idx="235">
                  <c:v>2.5228947734361033E-3</c:v>
                </c:pt>
                <c:pt idx="236">
                  <c:v>1.2865859964836075E-3</c:v>
                </c:pt>
                <c:pt idx="237">
                  <c:v>1.69347213532724E-3</c:v>
                </c:pt>
                <c:pt idx="238">
                  <c:v>1.4407792736593184E-3</c:v>
                </c:pt>
                <c:pt idx="239">
                  <c:v>1.4686295660452844E-3</c:v>
                </c:pt>
                <c:pt idx="240">
                  <c:v>1.9521322440680963E-3</c:v>
                </c:pt>
                <c:pt idx="241">
                  <c:v>4.3064776601471379E-3</c:v>
                </c:pt>
                <c:pt idx="242">
                  <c:v>1.5200797633252152E-3</c:v>
                </c:pt>
                <c:pt idx="243">
                  <c:v>8.1780055074886647E-4</c:v>
                </c:pt>
                <c:pt idx="244">
                  <c:v>1.2052311414196307E-3</c:v>
                </c:pt>
                <c:pt idx="245">
                  <c:v>1.1290064743026138E-3</c:v>
                </c:pt>
                <c:pt idx="246">
                  <c:v>9.4381047074439898E-4</c:v>
                </c:pt>
                <c:pt idx="247">
                  <c:v>1.2659718542071482E-3</c:v>
                </c:pt>
                <c:pt idx="248">
                  <c:v>2.4182811183870879E-3</c:v>
                </c:pt>
                <c:pt idx="249">
                  <c:v>1.0357239880467264E-3</c:v>
                </c:pt>
                <c:pt idx="250">
                  <c:v>7.0105307120909286E-4</c:v>
                </c:pt>
                <c:pt idx="251">
                  <c:v>1.1044282312892646E-3</c:v>
                </c:pt>
                <c:pt idx="252">
                  <c:v>1.014926031749534E-3</c:v>
                </c:pt>
                <c:pt idx="253">
                  <c:v>1.0755311127866236E-3</c:v>
                </c:pt>
                <c:pt idx="254">
                  <c:v>1.1586274185258426E-3</c:v>
                </c:pt>
                <c:pt idx="255">
                  <c:v>1.985840096701778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4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7</c:v>
                </c:pt>
                <c:pt idx="1">
                  <c:v>6369</c:v>
                </c:pt>
                <c:pt idx="2">
                  <c:v>6221</c:v>
                </c:pt>
                <c:pt idx="3">
                  <c:v>6316</c:v>
                </c:pt>
                <c:pt idx="4">
                  <c:v>6384</c:v>
                </c:pt>
                <c:pt idx="5">
                  <c:v>7058</c:v>
                </c:pt>
                <c:pt idx="6">
                  <c:v>6702</c:v>
                </c:pt>
                <c:pt idx="7">
                  <c:v>6226</c:v>
                </c:pt>
                <c:pt idx="8">
                  <c:v>5911</c:v>
                </c:pt>
                <c:pt idx="9">
                  <c:v>5273</c:v>
                </c:pt>
                <c:pt idx="10">
                  <c:v>5227</c:v>
                </c:pt>
                <c:pt idx="11">
                  <c:v>5520</c:v>
                </c:pt>
                <c:pt idx="12">
                  <c:v>5213</c:v>
                </c:pt>
                <c:pt idx="13">
                  <c:v>4912</c:v>
                </c:pt>
                <c:pt idx="14">
                  <c:v>4652</c:v>
                </c:pt>
                <c:pt idx="15">
                  <c:v>4407</c:v>
                </c:pt>
                <c:pt idx="16">
                  <c:v>4011</c:v>
                </c:pt>
                <c:pt idx="17">
                  <c:v>4019</c:v>
                </c:pt>
                <c:pt idx="18">
                  <c:v>4291</c:v>
                </c:pt>
                <c:pt idx="19">
                  <c:v>4124</c:v>
                </c:pt>
                <c:pt idx="20">
                  <c:v>3963</c:v>
                </c:pt>
                <c:pt idx="21">
                  <c:v>3728</c:v>
                </c:pt>
                <c:pt idx="22">
                  <c:v>3514</c:v>
                </c:pt>
                <c:pt idx="23">
                  <c:v>3167</c:v>
                </c:pt>
                <c:pt idx="24">
                  <c:v>3165</c:v>
                </c:pt>
                <c:pt idx="25">
                  <c:v>3316</c:v>
                </c:pt>
                <c:pt idx="26">
                  <c:v>3149</c:v>
                </c:pt>
                <c:pt idx="27">
                  <c:v>3002</c:v>
                </c:pt>
                <c:pt idx="28">
                  <c:v>2837</c:v>
                </c:pt>
                <c:pt idx="29">
                  <c:v>2679</c:v>
                </c:pt>
                <c:pt idx="30">
                  <c:v>2476</c:v>
                </c:pt>
                <c:pt idx="31">
                  <c:v>2504</c:v>
                </c:pt>
                <c:pt idx="32">
                  <c:v>2695</c:v>
                </c:pt>
                <c:pt idx="33">
                  <c:v>2541</c:v>
                </c:pt>
                <c:pt idx="34">
                  <c:v>2363</c:v>
                </c:pt>
                <c:pt idx="35">
                  <c:v>2222</c:v>
                </c:pt>
                <c:pt idx="36">
                  <c:v>2124</c:v>
                </c:pt>
                <c:pt idx="37">
                  <c:v>1887</c:v>
                </c:pt>
                <c:pt idx="38">
                  <c:v>1867</c:v>
                </c:pt>
                <c:pt idx="39">
                  <c:v>1981</c:v>
                </c:pt>
                <c:pt idx="40">
                  <c:v>1831</c:v>
                </c:pt>
                <c:pt idx="41">
                  <c:v>1713</c:v>
                </c:pt>
                <c:pt idx="42">
                  <c:v>1592</c:v>
                </c:pt>
                <c:pt idx="43">
                  <c:v>150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5</c:v>
                </c:pt>
                <c:pt idx="1">
                  <c:v>1424</c:v>
                </c:pt>
                <c:pt idx="2">
                  <c:v>1401</c:v>
                </c:pt>
                <c:pt idx="3">
                  <c:v>1379</c:v>
                </c:pt>
                <c:pt idx="4">
                  <c:v>1345</c:v>
                </c:pt>
                <c:pt idx="5">
                  <c:v>1395</c:v>
                </c:pt>
                <c:pt idx="6">
                  <c:v>1362</c:v>
                </c:pt>
                <c:pt idx="7">
                  <c:v>1315</c:v>
                </c:pt>
                <c:pt idx="8">
                  <c:v>1238</c:v>
                </c:pt>
                <c:pt idx="9">
                  <c:v>1220</c:v>
                </c:pt>
                <c:pt idx="10">
                  <c:v>1202</c:v>
                </c:pt>
                <c:pt idx="11">
                  <c:v>1188</c:v>
                </c:pt>
                <c:pt idx="12">
                  <c:v>1159</c:v>
                </c:pt>
                <c:pt idx="13">
                  <c:v>1115</c:v>
                </c:pt>
                <c:pt idx="14">
                  <c:v>1037</c:v>
                </c:pt>
                <c:pt idx="15">
                  <c:v>1015</c:v>
                </c:pt>
                <c:pt idx="16">
                  <c:v>975</c:v>
                </c:pt>
                <c:pt idx="17">
                  <c:v>977</c:v>
                </c:pt>
                <c:pt idx="18">
                  <c:v>995</c:v>
                </c:pt>
                <c:pt idx="19">
                  <c:v>944</c:v>
                </c:pt>
                <c:pt idx="20">
                  <c:v>909</c:v>
                </c:pt>
                <c:pt idx="21">
                  <c:v>835</c:v>
                </c:pt>
                <c:pt idx="22">
                  <c:v>788</c:v>
                </c:pt>
                <c:pt idx="23">
                  <c:v>752</c:v>
                </c:pt>
                <c:pt idx="24">
                  <c:v>762</c:v>
                </c:pt>
                <c:pt idx="25">
                  <c:v>740</c:v>
                </c:pt>
                <c:pt idx="26">
                  <c:v>715</c:v>
                </c:pt>
                <c:pt idx="27">
                  <c:v>687</c:v>
                </c:pt>
                <c:pt idx="28">
                  <c:v>638</c:v>
                </c:pt>
                <c:pt idx="29">
                  <c:v>579</c:v>
                </c:pt>
                <c:pt idx="30">
                  <c:v>557</c:v>
                </c:pt>
                <c:pt idx="31">
                  <c:v>564</c:v>
                </c:pt>
                <c:pt idx="32">
                  <c:v>570</c:v>
                </c:pt>
                <c:pt idx="33">
                  <c:v>550</c:v>
                </c:pt>
                <c:pt idx="34">
                  <c:v>507</c:v>
                </c:pt>
                <c:pt idx="35">
                  <c:v>467</c:v>
                </c:pt>
                <c:pt idx="36">
                  <c:v>444</c:v>
                </c:pt>
                <c:pt idx="37">
                  <c:v>415</c:v>
                </c:pt>
                <c:pt idx="38">
                  <c:v>423</c:v>
                </c:pt>
                <c:pt idx="39">
                  <c:v>427</c:v>
                </c:pt>
                <c:pt idx="40">
                  <c:v>405</c:v>
                </c:pt>
                <c:pt idx="41">
                  <c:v>376</c:v>
                </c:pt>
                <c:pt idx="42">
                  <c:v>360</c:v>
                </c:pt>
                <c:pt idx="43">
                  <c:v>335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664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231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71016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2453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995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94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8910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1065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0410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569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257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513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439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20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297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004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32452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1270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8477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6778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699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889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7069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34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45469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49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785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88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8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70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1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41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4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7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73FF4DA9-9F8A-4493-B93D-F3FAFD28C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105854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/>
                        <a:t>Stručný souhrn stávajícího stavu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/>
                        <a:t>- dne 16.05.2021 -</a:t>
                      </a: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1143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4547212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8F08E091-7E7F-437A-B5B2-F330BC67C4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124104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078257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preventivní testy a komunitní testování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5851202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F560BC89-1864-4FDC-8DD4-5C874EDB71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749414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19650341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Počty testů dle indikace a účelu: 9. 5.–15. 5.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740" y="792480"/>
            <a:ext cx="11391900" cy="59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9928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Zátěž nemocnic 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545753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05098577-CBAC-44BF-B672-21EF6DC8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973845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34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10ACF529-2076-4F11-AC2D-F32B960438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739456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91804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117700"/>
              </p:ext>
            </p:extLst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8BBFAD06-D885-426F-8CB4-E69C9DF6A4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414977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35663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993354"/>
              </p:ext>
            </p:extLst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F03433A1-1657-4975-B34F-E1DABF24DA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369125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5.–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5.–1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871758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5989003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83FC318A-B66C-46C4-8AB1-B2C468AA69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8632528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43583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0" y="6398293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39" y="745998"/>
            <a:ext cx="11341608" cy="575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032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D547B5C3-9C9D-4646-9142-57CBE7A9C7A2}"/>
              </a:ext>
            </a:extLst>
          </p:cNvPr>
          <p:cNvSpPr/>
          <p:nvPr/>
        </p:nvSpPr>
        <p:spPr>
          <a:xfrm>
            <a:off x="230691" y="6377756"/>
            <a:ext cx="119613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dstavuje podíl sedmidenních oken, vzájemně posunutých o užívanou průměrnou délku sériového intervalu (5 dní). 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 DER HEIDEN, Matthias; HAMOUDA,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samah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Schätzung der aktuellen Entwicklung der SARS-CoV-2-Epidemie in Deutschland–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wcasting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 </a:t>
            </a:r>
            <a:r>
              <a:rPr kumimoji="0" lang="de-DE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id</a:t>
            </a:r>
            <a:r>
              <a:rPr kumimoji="0" lang="de-DE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Bull, 2020, 17: 10-15.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39" y="664210"/>
            <a:ext cx="11341608" cy="575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695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667760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13183" y="2408993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3CB062D-720E-4D82-8709-CD2DC8EFD1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5776117"/>
              </p:ext>
            </p:extLst>
          </p:nvPr>
        </p:nvGraphicFramePr>
        <p:xfrm>
          <a:off x="4539343" y="1702803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38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diagnostikovaných potenciálně zranitelných paci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COVID-19 významně klesá. Jde o efekt postupující vakcinac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trend s</a:t>
            </a:r>
            <a:r>
              <a:rPr kumimoji="0" lang="cs-CZ" sz="3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pozitivně promítá do klesající zátěže nemocnic.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689505">
            <a:off x="10987264" y="5375790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3213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3512347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757E2A2A-AB0C-4E9F-9905-4436AE58AC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938898" y="255099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ce seniorů 7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C232ED1B-4826-4970-8717-0D98788AF0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137045"/>
              </p:ext>
            </p:extLst>
          </p:nvPr>
        </p:nvGraphicFramePr>
        <p:xfrm>
          <a:off x="4604657" y="1876539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97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Počet nově diagnostikovaných potenciálně zranitelných pacientů </a:t>
            </a:r>
          </a:p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s COVID-19 významně klesá. Jde o efekt postupující vakcinace. </a:t>
            </a:r>
          </a:p>
          <a:p>
            <a:pPr lvl="0" algn="ctr">
              <a:defRPr/>
            </a:pPr>
            <a:r>
              <a:rPr lang="cs-CZ" sz="3000" b="1" dirty="0">
                <a:solidFill>
                  <a:prstClr val="black"/>
                </a:solidFill>
              </a:rPr>
              <a:t>Tento trend se pozitivně promítá do klesající zátěže nemocnic.</a:t>
            </a:r>
            <a:endParaRPr lang="cs-CZ" sz="3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5" name="Šipka doprava 1">
            <a:extLst>
              <a:ext uri="{FF2B5EF4-FFF2-40B4-BE49-F238E27FC236}">
                <a16:creationId xmlns:a16="http://schemas.microsoft.com/office/drawing/2014/main" id="{DB69093E-D357-4867-8160-EB2CA3C5A1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14450">
            <a:off x="10978120" y="5420916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83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 fontScale="92500"/>
          </a:bodyPr>
          <a:lstStyle/>
          <a:p>
            <a:r>
              <a:rPr lang="cs-CZ" sz="5400" b="1" dirty="0"/>
              <a:t>Nově pozitivně diagnostikovaní </a:t>
            </a:r>
          </a:p>
          <a:p>
            <a:r>
              <a:rPr lang="cs-CZ" sz="5400" b="1" dirty="0"/>
              <a:t>– rozbor testů vedoucích k diagnóze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3169305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FD2A2266-74C3-4E62-BB1F-5334AD38FB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118110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596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521 (87,4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239 (40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282 (47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75 (12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28 (4,7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47 (7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C4009C0B-BA91-48BC-A17F-AA32F243F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544076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.2021–9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10 823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9 100 (84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4 666 (43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4 434 (41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1 723 (15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873 (8,1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850 (7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63176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indikace </a:t>
            </a:r>
            <a:endParaRPr lang="cs-CZ" dirty="0">
              <a:latin typeface="+mj-lt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3666AA6-121E-4611-A046-B6B1FA72FBC6}"/>
              </a:ext>
            </a:extLst>
          </p:cNvPr>
          <p:cNvSpPr/>
          <p:nvPr/>
        </p:nvSpPr>
        <p:spPr>
          <a:xfrm>
            <a:off x="75501" y="613655"/>
            <a:ext cx="99508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záchytů kalkulovaný z denního počtu testů: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8725445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BC93E14-D9ED-4DA4-B06F-7A6F69F0AC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8516"/>
              </p:ext>
            </p:extLst>
          </p:nvPr>
        </p:nvGraphicFramePr>
        <p:xfrm>
          <a:off x="1403900" y="921432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11622" y="3048551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827689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4</Words>
  <Application>Microsoft Office PowerPoint</Application>
  <PresentationFormat>Širokoúhlá obrazovka</PresentationFormat>
  <Paragraphs>244</Paragraphs>
  <Slides>16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6</vt:i4>
      </vt:variant>
    </vt:vector>
  </HeadingPairs>
  <TitlesOfParts>
    <vt:vector size="24" baseType="lpstr">
      <vt:lpstr>Arial</vt:lpstr>
      <vt:lpstr>Arial (Základní text)</vt:lpstr>
      <vt:lpstr>Calibri</vt:lpstr>
      <vt:lpstr>Calibri Light</vt:lpstr>
      <vt:lpstr>Motiv Office</vt:lpstr>
      <vt:lpstr>1_Motiv systému Office</vt:lpstr>
      <vt:lpstr>1_Motiv Office</vt:lpstr>
      <vt:lpstr>3_Motiv Office</vt:lpstr>
      <vt:lpstr>Datová a informační základna  pro management pandemie COVID-19</vt:lpstr>
      <vt:lpstr>Prezentace aplikace PowerPoint</vt:lpstr>
      <vt:lpstr>Vybrané ukazatele – srovnání regionů</vt:lpstr>
      <vt:lpstr>Vybrané ukazatele – srovnání regionů</vt:lpstr>
      <vt:lpstr>Prezentace aplikace PowerPoint</vt:lpstr>
      <vt:lpstr>Prezentace aplikace PowerPoint</vt:lpstr>
      <vt:lpstr>Datová a informační základna  pro management pandemie COVID-19</vt:lpstr>
      <vt:lpstr>Typologie pozitivních případů</vt:lpstr>
      <vt:lpstr>Podíl pozitivních testů: diagnostické indikace </vt:lpstr>
      <vt:lpstr>Podíl pozitivních testů: epidemiologické indikace</vt:lpstr>
      <vt:lpstr>Podíl pozitivních testů: preventivní testy a komunitní testování</vt:lpstr>
      <vt:lpstr>Počty testů dle indikace a účelu: 9. 5.–15. 5.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5-16T16:57:56Z</dcterms:modified>
</cp:coreProperties>
</file>